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mp4" ContentType="video/mp4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customXml/itemProps6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7" Type="http://schemas.microsoft.com/office/2020/02/relationships/classificationlabels" Target="docMetadata/LabelInfo.xml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6" Type="http://schemas.openxmlformats.org/officeDocument/2006/relationships/custom-properties" Target="docProps/custom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autoCompressPictures="0">
  <p:sldMasterIdLst>
    <p:sldMasterId id="2147484011" r:id="rId7"/>
  </p:sldMasterIdLst>
  <p:notesMasterIdLst>
    <p:notesMasterId r:id="rId19"/>
  </p:notesMasterIdLst>
  <p:handoutMasterIdLst>
    <p:handoutMasterId r:id="rId20"/>
  </p:handoutMasterIdLst>
  <p:sldIdLst>
    <p:sldId id="2147482499" r:id="rId8"/>
    <p:sldId id="2147482509" r:id="rId9"/>
    <p:sldId id="2147482510" r:id="rId10"/>
    <p:sldId id="419" r:id="rId11"/>
    <p:sldId id="2147482517" r:id="rId12"/>
    <p:sldId id="2147482513" r:id="rId13"/>
    <p:sldId id="2147482518" r:id="rId14"/>
    <p:sldId id="442" r:id="rId15"/>
    <p:sldId id="2147482519" r:id="rId16"/>
    <p:sldId id="2147482508" r:id="rId17"/>
    <p:sldId id="2147482511" r:id="rId18"/>
  </p:sldIdLst>
  <p:sldSz cx="9144000" cy="5143500" type="screen16x9"/>
  <p:notesSz cx="6858000" cy="9144000"/>
  <p:defaultTextStyle>
    <a:defPPr>
      <a:defRPr lang="en-US"/>
    </a:defPPr>
    <a:lvl1pPr marL="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1pPr>
    <a:lvl2pPr marL="3429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2pPr>
    <a:lvl3pPr marL="6858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3pPr>
    <a:lvl4pPr marL="10287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4pPr>
    <a:lvl5pPr marL="13716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5pPr>
    <a:lvl6pPr marL="17145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6pPr>
    <a:lvl7pPr marL="20574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7pPr>
    <a:lvl8pPr marL="24003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8pPr>
    <a:lvl9pPr marL="27432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6D53F028-A2E4-E24B-A222-7DB4617B18BB}">
          <p14:sldIdLst>
            <p14:sldId id="2147482499"/>
            <p14:sldId id="2147482509"/>
            <p14:sldId id="2147482510"/>
            <p14:sldId id="419"/>
            <p14:sldId id="2147482517"/>
            <p14:sldId id="2147482513"/>
            <p14:sldId id="2147482518"/>
            <p14:sldId id="442"/>
            <p14:sldId id="2147482519"/>
            <p14:sldId id="2147482508"/>
            <p14:sldId id="2147482511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1620" userDrawn="1">
          <p15:clr>
            <a:srgbClr val="A4A3A4"/>
          </p15:clr>
        </p15:guide>
        <p15:guide id="2" pos="288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hor" initials="A" userId="Author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F77B4"/>
    <a:srgbClr val="FFDFDB"/>
    <a:srgbClr val="FFE050"/>
    <a:srgbClr val="FFED5E"/>
    <a:srgbClr val="02ABB1"/>
    <a:srgbClr val="00666F"/>
    <a:srgbClr val="FCFCC2"/>
    <a:srgbClr val="ADFFB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0BAFD1E8-3672-49BA-B0B4-0CD2E68A336C}" v="368" dt="2026-01-19T07:48:49.863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9968" autoAdjust="0"/>
    <p:restoredTop sz="80017" autoAdjust="0"/>
  </p:normalViewPr>
  <p:slideViewPr>
    <p:cSldViewPr snapToGrid="0">
      <p:cViewPr varScale="1">
        <p:scale>
          <a:sx n="81" d="100"/>
          <a:sy n="81" d="100"/>
        </p:scale>
        <p:origin x="773" y="374"/>
      </p:cViewPr>
      <p:guideLst>
        <p:guide orient="horz" pos="1620"/>
        <p:guide pos="2880"/>
      </p:guideLst>
    </p:cSldViewPr>
  </p:slideViewPr>
  <p:outlineViewPr>
    <p:cViewPr>
      <p:scale>
        <a:sx n="70" d="100"/>
        <a:sy n="70" d="100"/>
      </p:scale>
      <p:origin x="-80" y="-50192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-14292"/>
    </p:cViewPr>
  </p:sorterViewPr>
  <p:notesViewPr>
    <p:cSldViewPr snapToGrid="0" showGuides="1">
      <p:cViewPr>
        <p:scale>
          <a:sx n="109" d="100"/>
          <a:sy n="109" d="100"/>
        </p:scale>
        <p:origin x="3666" y="456"/>
      </p:cViewPr>
      <p:guideLst/>
    </p:cSldViewPr>
  </p:notesViewPr>
  <p:gridSpacing cx="38100" cy="381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slide" Target="slides/slide6.xml"/><Relationship Id="rId18" Type="http://schemas.openxmlformats.org/officeDocument/2006/relationships/slide" Target="slides/slide11.xml"/><Relationship Id="rId26" Type="http://schemas.microsoft.com/office/2015/10/relationships/revisionInfo" Target="revisionInfo.xml"/><Relationship Id="rId3" Type="http://schemas.openxmlformats.org/officeDocument/2006/relationships/customXml" Target="../customXml/item3.xml"/><Relationship Id="rId21" Type="http://schemas.openxmlformats.org/officeDocument/2006/relationships/presProps" Target="presProps.xml"/><Relationship Id="rId7" Type="http://schemas.openxmlformats.org/officeDocument/2006/relationships/slideMaster" Target="slideMasters/slideMaster1.xml"/><Relationship Id="rId12" Type="http://schemas.openxmlformats.org/officeDocument/2006/relationships/slide" Target="slides/slide5.xml"/><Relationship Id="rId17" Type="http://schemas.openxmlformats.org/officeDocument/2006/relationships/slide" Target="slides/slide10.xml"/><Relationship Id="rId25" Type="http://schemas.microsoft.com/office/2016/11/relationships/changesInfo" Target="changesInfos/changesInfo1.xml"/><Relationship Id="rId2" Type="http://schemas.openxmlformats.org/officeDocument/2006/relationships/customXml" Target="../customXml/item2.xml"/><Relationship Id="rId16" Type="http://schemas.openxmlformats.org/officeDocument/2006/relationships/slide" Target="slides/slide9.xml"/><Relationship Id="rId20" Type="http://schemas.openxmlformats.org/officeDocument/2006/relationships/handoutMaster" Target="handoutMasters/handoutMaster1.xml"/><Relationship Id="rId1" Type="http://schemas.openxmlformats.org/officeDocument/2006/relationships/customXml" Target="../customXml/item1.xml"/><Relationship Id="rId6" Type="http://schemas.openxmlformats.org/officeDocument/2006/relationships/customXml" Target="../customXml/item6.xml"/><Relationship Id="rId11" Type="http://schemas.openxmlformats.org/officeDocument/2006/relationships/slide" Target="slides/slide4.xml"/><Relationship Id="rId24" Type="http://schemas.openxmlformats.org/officeDocument/2006/relationships/tableStyles" Target="tableStyles.xml"/><Relationship Id="rId5" Type="http://schemas.openxmlformats.org/officeDocument/2006/relationships/customXml" Target="../customXml/item5.xml"/><Relationship Id="rId15" Type="http://schemas.openxmlformats.org/officeDocument/2006/relationships/slide" Target="slides/slide8.xml"/><Relationship Id="rId23" Type="http://schemas.openxmlformats.org/officeDocument/2006/relationships/theme" Target="theme/theme1.xml"/><Relationship Id="rId10" Type="http://schemas.openxmlformats.org/officeDocument/2006/relationships/slide" Target="slides/slide3.xml"/><Relationship Id="rId19" Type="http://schemas.openxmlformats.org/officeDocument/2006/relationships/notesMaster" Target="notesMasters/notesMaster1.xml"/><Relationship Id="rId4" Type="http://schemas.openxmlformats.org/officeDocument/2006/relationships/customXml" Target="../customXml/item4.xml"/><Relationship Id="rId9" Type="http://schemas.openxmlformats.org/officeDocument/2006/relationships/slide" Target="slides/slide2.xml"/><Relationship Id="rId14" Type="http://schemas.openxmlformats.org/officeDocument/2006/relationships/slide" Target="slides/slide7.xml"/><Relationship Id="rId22" Type="http://schemas.openxmlformats.org/officeDocument/2006/relationships/viewProps" Target="viewProps.xml"/><Relationship Id="rId27" Type="http://schemas.microsoft.com/office/2018/10/relationships/authors" Target="author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Hendriks, Rob" userId="c1397476-51d7-416b-9276-de9da7a1b8a6" providerId="ADAL" clId="{5530228B-0BD8-451E-BAD1-66B9143C59C5}"/>
    <pc:docChg chg="undo custSel addSld delSld modSld sldOrd modSection">
      <pc:chgData name="Hendriks, Rob" userId="c1397476-51d7-416b-9276-de9da7a1b8a6" providerId="ADAL" clId="{5530228B-0BD8-451E-BAD1-66B9143C59C5}" dt="2026-01-19T07:52:16.249" v="878" actId="255"/>
      <pc:docMkLst>
        <pc:docMk/>
      </pc:docMkLst>
      <pc:sldChg chg="addSp modSp mod modAnim">
        <pc:chgData name="Hendriks, Rob" userId="c1397476-51d7-416b-9276-de9da7a1b8a6" providerId="ADAL" clId="{5530228B-0BD8-451E-BAD1-66B9143C59C5}" dt="2026-01-19T07:36:30.996" v="751" actId="1076"/>
        <pc:sldMkLst>
          <pc:docMk/>
          <pc:sldMk cId="2080383091" sldId="419"/>
        </pc:sldMkLst>
        <pc:spChg chg="mod">
          <ac:chgData name="Hendriks, Rob" userId="c1397476-51d7-416b-9276-de9da7a1b8a6" providerId="ADAL" clId="{5530228B-0BD8-451E-BAD1-66B9143C59C5}" dt="2026-01-19T07:36:30.996" v="751" actId="1076"/>
          <ac:spMkLst>
            <pc:docMk/>
            <pc:sldMk cId="2080383091" sldId="419"/>
            <ac:spMk id="2" creationId="{101FD451-9AA4-EA73-8819-3C57A3EF9C09}"/>
          </ac:spMkLst>
        </pc:spChg>
        <pc:spChg chg="mod">
          <ac:chgData name="Hendriks, Rob" userId="c1397476-51d7-416b-9276-de9da7a1b8a6" providerId="ADAL" clId="{5530228B-0BD8-451E-BAD1-66B9143C59C5}" dt="2026-01-19T07:34:17.942" v="682" actId="164"/>
          <ac:spMkLst>
            <pc:docMk/>
            <pc:sldMk cId="2080383091" sldId="419"/>
            <ac:spMk id="4" creationId="{69B21DB9-F20C-708F-05F0-F92326F77FDB}"/>
          </ac:spMkLst>
        </pc:spChg>
        <pc:spChg chg="mod">
          <ac:chgData name="Hendriks, Rob" userId="c1397476-51d7-416b-9276-de9da7a1b8a6" providerId="ADAL" clId="{5530228B-0BD8-451E-BAD1-66B9143C59C5}" dt="2026-01-19T07:34:17.942" v="682" actId="164"/>
          <ac:spMkLst>
            <pc:docMk/>
            <pc:sldMk cId="2080383091" sldId="419"/>
            <ac:spMk id="5" creationId="{2E8B93CC-AF9A-210B-6646-222C3B2EB1BD}"/>
          </ac:spMkLst>
        </pc:spChg>
        <pc:grpChg chg="add mod">
          <ac:chgData name="Hendriks, Rob" userId="c1397476-51d7-416b-9276-de9da7a1b8a6" providerId="ADAL" clId="{5530228B-0BD8-451E-BAD1-66B9143C59C5}" dt="2026-01-19T07:34:17.942" v="682" actId="164"/>
          <ac:grpSpMkLst>
            <pc:docMk/>
            <pc:sldMk cId="2080383091" sldId="419"/>
            <ac:grpSpMk id="6" creationId="{AF74500D-C8C4-9538-7D29-6C8B93676127}"/>
          </ac:grpSpMkLst>
        </pc:grpChg>
      </pc:sldChg>
      <pc:sldChg chg="modSp mod">
        <pc:chgData name="Hendriks, Rob" userId="c1397476-51d7-416b-9276-de9da7a1b8a6" providerId="ADAL" clId="{5530228B-0BD8-451E-BAD1-66B9143C59C5}" dt="2026-01-19T07:33:35.564" v="681" actId="20577"/>
        <pc:sldMkLst>
          <pc:docMk/>
          <pc:sldMk cId="1505692260" sldId="442"/>
        </pc:sldMkLst>
        <pc:spChg chg="mod">
          <ac:chgData name="Hendriks, Rob" userId="c1397476-51d7-416b-9276-de9da7a1b8a6" providerId="ADAL" clId="{5530228B-0BD8-451E-BAD1-66B9143C59C5}" dt="2026-01-19T07:33:31.886" v="680" actId="20577"/>
          <ac:spMkLst>
            <pc:docMk/>
            <pc:sldMk cId="1505692260" sldId="442"/>
            <ac:spMk id="3" creationId="{D4AF1869-743A-A33A-5832-5279E5FDCD48}"/>
          </ac:spMkLst>
        </pc:spChg>
        <pc:spChg chg="mod">
          <ac:chgData name="Hendriks, Rob" userId="c1397476-51d7-416b-9276-de9da7a1b8a6" providerId="ADAL" clId="{5530228B-0BD8-451E-BAD1-66B9143C59C5}" dt="2026-01-19T07:33:35.564" v="681" actId="20577"/>
          <ac:spMkLst>
            <pc:docMk/>
            <pc:sldMk cId="1505692260" sldId="442"/>
            <ac:spMk id="4" creationId="{D853E6A7-3926-26CE-3AE6-CAC6991D20C2}"/>
          </ac:spMkLst>
        </pc:spChg>
        <pc:spChg chg="mod">
          <ac:chgData name="Hendriks, Rob" userId="c1397476-51d7-416b-9276-de9da7a1b8a6" providerId="ADAL" clId="{5530228B-0BD8-451E-BAD1-66B9143C59C5}" dt="2025-12-30T06:38:12.192" v="405" actId="20577"/>
          <ac:spMkLst>
            <pc:docMk/>
            <pc:sldMk cId="1505692260" sldId="442"/>
            <ac:spMk id="15" creationId="{6BA54D7B-F9BA-10E6-B9E4-6F4671AD440A}"/>
          </ac:spMkLst>
        </pc:spChg>
      </pc:sldChg>
      <pc:sldChg chg="modSp mod">
        <pc:chgData name="Hendriks, Rob" userId="c1397476-51d7-416b-9276-de9da7a1b8a6" providerId="ADAL" clId="{5530228B-0BD8-451E-BAD1-66B9143C59C5}" dt="2026-01-19T07:27:47.145" v="544" actId="1076"/>
        <pc:sldMkLst>
          <pc:docMk/>
          <pc:sldMk cId="1058418885" sldId="2147482499"/>
        </pc:sldMkLst>
        <pc:spChg chg="mod">
          <ac:chgData name="Hendriks, Rob" userId="c1397476-51d7-416b-9276-de9da7a1b8a6" providerId="ADAL" clId="{5530228B-0BD8-451E-BAD1-66B9143C59C5}" dt="2026-01-19T07:27:40.643" v="540" actId="20577"/>
          <ac:spMkLst>
            <pc:docMk/>
            <pc:sldMk cId="1058418885" sldId="2147482499"/>
            <ac:spMk id="6" creationId="{FBF7F283-C47B-3C2A-4CB4-512C49427253}"/>
          </ac:spMkLst>
        </pc:spChg>
        <pc:spChg chg="mod">
          <ac:chgData name="Hendriks, Rob" userId="c1397476-51d7-416b-9276-de9da7a1b8a6" providerId="ADAL" clId="{5530228B-0BD8-451E-BAD1-66B9143C59C5}" dt="2026-01-19T07:27:47.145" v="544" actId="1076"/>
          <ac:spMkLst>
            <pc:docMk/>
            <pc:sldMk cId="1058418885" sldId="2147482499"/>
            <ac:spMk id="7" creationId="{1C0FD810-861C-8EF2-52CF-99FFEAD5A5E7}"/>
          </ac:spMkLst>
        </pc:spChg>
        <pc:spChg chg="mod">
          <ac:chgData name="Hendriks, Rob" userId="c1397476-51d7-416b-9276-de9da7a1b8a6" providerId="ADAL" clId="{5530228B-0BD8-451E-BAD1-66B9143C59C5}" dt="2025-12-30T06:42:56.257" v="523" actId="20577"/>
          <ac:spMkLst>
            <pc:docMk/>
            <pc:sldMk cId="1058418885" sldId="2147482499"/>
            <ac:spMk id="14" creationId="{2341943A-5D35-4B9C-6AD7-1005BEFD6339}"/>
          </ac:spMkLst>
        </pc:spChg>
      </pc:sldChg>
      <pc:sldChg chg="modSp mod">
        <pc:chgData name="Hendriks, Rob" userId="c1397476-51d7-416b-9276-de9da7a1b8a6" providerId="ADAL" clId="{5530228B-0BD8-451E-BAD1-66B9143C59C5}" dt="2026-01-19T07:28:01.482" v="545" actId="1076"/>
        <pc:sldMkLst>
          <pc:docMk/>
          <pc:sldMk cId="1356198356" sldId="2147482509"/>
        </pc:sldMkLst>
        <pc:spChg chg="mod">
          <ac:chgData name="Hendriks, Rob" userId="c1397476-51d7-416b-9276-de9da7a1b8a6" providerId="ADAL" clId="{5530228B-0BD8-451E-BAD1-66B9143C59C5}" dt="2025-12-30T06:42:05.687" v="512" actId="20577"/>
          <ac:spMkLst>
            <pc:docMk/>
            <pc:sldMk cId="1356198356" sldId="2147482509"/>
            <ac:spMk id="10" creationId="{9EE21490-2234-12DE-0977-5207C5013648}"/>
          </ac:spMkLst>
        </pc:spChg>
        <pc:spChg chg="mod">
          <ac:chgData name="Hendriks, Rob" userId="c1397476-51d7-416b-9276-de9da7a1b8a6" providerId="ADAL" clId="{5530228B-0BD8-451E-BAD1-66B9143C59C5}" dt="2026-01-19T07:28:01.482" v="545" actId="1076"/>
          <ac:spMkLst>
            <pc:docMk/>
            <pc:sldMk cId="1356198356" sldId="2147482509"/>
            <ac:spMk id="16" creationId="{5A3059A5-A0D8-E7E1-1D2E-E638D342D0F8}"/>
          </ac:spMkLst>
        </pc:spChg>
        <pc:picChg chg="mod">
          <ac:chgData name="Hendriks, Rob" userId="c1397476-51d7-416b-9276-de9da7a1b8a6" providerId="ADAL" clId="{5530228B-0BD8-451E-BAD1-66B9143C59C5}" dt="2025-12-30T06:41:20.272" v="417" actId="1076"/>
          <ac:picMkLst>
            <pc:docMk/>
            <pc:sldMk cId="1356198356" sldId="2147482509"/>
            <ac:picMk id="9" creationId="{F33F7055-D4B9-D5F3-C9B7-4508967A230E}"/>
          </ac:picMkLst>
        </pc:picChg>
        <pc:cxnChg chg="mod">
          <ac:chgData name="Hendriks, Rob" userId="c1397476-51d7-416b-9276-de9da7a1b8a6" providerId="ADAL" clId="{5530228B-0BD8-451E-BAD1-66B9143C59C5}" dt="2025-12-30T06:40:57.367" v="415" actId="1076"/>
          <ac:cxnSpMkLst>
            <pc:docMk/>
            <pc:sldMk cId="1356198356" sldId="2147482509"/>
            <ac:cxnSpMk id="18" creationId="{7F4615D9-6CE4-30AE-EFFF-A4A5F2EEA696}"/>
          </ac:cxnSpMkLst>
        </pc:cxnChg>
      </pc:sldChg>
      <pc:sldChg chg="modSp mod ord modShow">
        <pc:chgData name="Hendriks, Rob" userId="c1397476-51d7-416b-9276-de9da7a1b8a6" providerId="ADAL" clId="{5530228B-0BD8-451E-BAD1-66B9143C59C5}" dt="2026-01-19T07:45:28.467" v="822"/>
        <pc:sldMkLst>
          <pc:docMk/>
          <pc:sldMk cId="117015319" sldId="2147482511"/>
        </pc:sldMkLst>
        <pc:spChg chg="mod">
          <ac:chgData name="Hendriks, Rob" userId="c1397476-51d7-416b-9276-de9da7a1b8a6" providerId="ADAL" clId="{5530228B-0BD8-451E-BAD1-66B9143C59C5}" dt="2025-12-29T15:56:05.247" v="248" actId="313"/>
          <ac:spMkLst>
            <pc:docMk/>
            <pc:sldMk cId="117015319" sldId="2147482511"/>
            <ac:spMk id="4" creationId="{3DB72D71-4944-18D7-4729-46860624CA6B}"/>
          </ac:spMkLst>
        </pc:spChg>
        <pc:spChg chg="mod">
          <ac:chgData name="Hendriks, Rob" userId="c1397476-51d7-416b-9276-de9da7a1b8a6" providerId="ADAL" clId="{5530228B-0BD8-451E-BAD1-66B9143C59C5}" dt="2025-12-29T15:56:35.968" v="250" actId="20577"/>
          <ac:spMkLst>
            <pc:docMk/>
            <pc:sldMk cId="117015319" sldId="2147482511"/>
            <ac:spMk id="9" creationId="{227AFE3D-131F-5F43-14F5-5FD6AEE9553C}"/>
          </ac:spMkLst>
        </pc:spChg>
      </pc:sldChg>
      <pc:sldChg chg="addSp modSp modTransition modAnim">
        <pc:chgData name="Hendriks, Rob" userId="c1397476-51d7-416b-9276-de9da7a1b8a6" providerId="ADAL" clId="{5530228B-0BD8-451E-BAD1-66B9143C59C5}" dt="2025-12-29T16:17:29.134" v="390"/>
        <pc:sldMkLst>
          <pc:docMk/>
          <pc:sldMk cId="3491637994" sldId="2147482513"/>
        </pc:sldMkLst>
        <pc:spChg chg="add mod">
          <ac:chgData name="Hendriks, Rob" userId="c1397476-51d7-416b-9276-de9da7a1b8a6" providerId="ADAL" clId="{5530228B-0BD8-451E-BAD1-66B9143C59C5}" dt="2025-12-29T16:16:29.250" v="384"/>
          <ac:spMkLst>
            <pc:docMk/>
            <pc:sldMk cId="3491637994" sldId="2147482513"/>
            <ac:spMk id="4" creationId="{E517B2CE-A1D4-F915-374F-E7143EB00D76}"/>
          </ac:spMkLst>
        </pc:spChg>
      </pc:sldChg>
      <pc:sldChg chg="modSp mod">
        <pc:chgData name="Hendriks, Rob" userId="c1397476-51d7-416b-9276-de9da7a1b8a6" providerId="ADAL" clId="{5530228B-0BD8-451E-BAD1-66B9143C59C5}" dt="2026-01-19T07:37:37.384" v="754" actId="14100"/>
        <pc:sldMkLst>
          <pc:docMk/>
          <pc:sldMk cId="161814841" sldId="2147482517"/>
        </pc:sldMkLst>
        <pc:spChg chg="mod">
          <ac:chgData name="Hendriks, Rob" userId="c1397476-51d7-416b-9276-de9da7a1b8a6" providerId="ADAL" clId="{5530228B-0BD8-451E-BAD1-66B9143C59C5}" dt="2026-01-19T07:31:49.384" v="667" actId="20577"/>
          <ac:spMkLst>
            <pc:docMk/>
            <pc:sldMk cId="161814841" sldId="2147482517"/>
            <ac:spMk id="9" creationId="{C4392A75-51DC-5984-BA75-CE827AF2DFF4}"/>
          </ac:spMkLst>
        </pc:spChg>
        <pc:spChg chg="mod">
          <ac:chgData name="Hendriks, Rob" userId="c1397476-51d7-416b-9276-de9da7a1b8a6" providerId="ADAL" clId="{5530228B-0BD8-451E-BAD1-66B9143C59C5}" dt="2026-01-19T07:37:37.384" v="754" actId="14100"/>
          <ac:spMkLst>
            <pc:docMk/>
            <pc:sldMk cId="161814841" sldId="2147482517"/>
            <ac:spMk id="15" creationId="{F436DFEF-94A5-DC4E-8A87-E1E241E90171}"/>
          </ac:spMkLst>
        </pc:spChg>
        <pc:spChg chg="mod">
          <ac:chgData name="Hendriks, Rob" userId="c1397476-51d7-416b-9276-de9da7a1b8a6" providerId="ADAL" clId="{5530228B-0BD8-451E-BAD1-66B9143C59C5}" dt="2026-01-19T07:32:00.280" v="672" actId="20577"/>
          <ac:spMkLst>
            <pc:docMk/>
            <pc:sldMk cId="161814841" sldId="2147482517"/>
            <ac:spMk id="16" creationId="{4E699C54-4EE8-AC7F-CEAB-0AC2F493F0D0}"/>
          </ac:spMkLst>
        </pc:spChg>
        <pc:spChg chg="mod">
          <ac:chgData name="Hendriks, Rob" userId="c1397476-51d7-416b-9276-de9da7a1b8a6" providerId="ADAL" clId="{5530228B-0BD8-451E-BAD1-66B9143C59C5}" dt="2026-01-19T07:32:09.432" v="673" actId="20577"/>
          <ac:spMkLst>
            <pc:docMk/>
            <pc:sldMk cId="161814841" sldId="2147482517"/>
            <ac:spMk id="17" creationId="{EF6FC67E-43F6-DC7C-5255-B53841D3AFBA}"/>
          </ac:spMkLst>
        </pc:spChg>
        <pc:spChg chg="mod">
          <ac:chgData name="Hendriks, Rob" userId="c1397476-51d7-416b-9276-de9da7a1b8a6" providerId="ADAL" clId="{5530228B-0BD8-451E-BAD1-66B9143C59C5}" dt="2026-01-19T07:32:59.583" v="679" actId="14100"/>
          <ac:spMkLst>
            <pc:docMk/>
            <pc:sldMk cId="161814841" sldId="2147482517"/>
            <ac:spMk id="31" creationId="{C8FAC299-7D87-46BE-DD13-8E273C559B80}"/>
          </ac:spMkLst>
        </pc:spChg>
        <pc:spChg chg="mod">
          <ac:chgData name="Hendriks, Rob" userId="c1397476-51d7-416b-9276-de9da7a1b8a6" providerId="ADAL" clId="{5530228B-0BD8-451E-BAD1-66B9143C59C5}" dt="2026-01-19T07:36:59.680" v="752" actId="20577"/>
          <ac:spMkLst>
            <pc:docMk/>
            <pc:sldMk cId="161814841" sldId="2147482517"/>
            <ac:spMk id="32" creationId="{FE012C17-306A-2701-D31E-BB07645A036A}"/>
          </ac:spMkLst>
        </pc:spChg>
      </pc:sldChg>
      <pc:sldChg chg="addSp delSp modSp mod delAnim modAnim">
        <pc:chgData name="Hendriks, Rob" userId="c1397476-51d7-416b-9276-de9da7a1b8a6" providerId="ADAL" clId="{5530228B-0BD8-451E-BAD1-66B9143C59C5}" dt="2025-12-29T15:44:27.910" v="66" actId="1076"/>
        <pc:sldMkLst>
          <pc:docMk/>
          <pc:sldMk cId="9088033" sldId="2147482518"/>
        </pc:sldMkLst>
        <pc:spChg chg="mod">
          <ac:chgData name="Hendriks, Rob" userId="c1397476-51d7-416b-9276-de9da7a1b8a6" providerId="ADAL" clId="{5530228B-0BD8-451E-BAD1-66B9143C59C5}" dt="2025-12-29T12:05:25.604" v="46" actId="14100"/>
          <ac:spMkLst>
            <pc:docMk/>
            <pc:sldMk cId="9088033" sldId="2147482518"/>
            <ac:spMk id="4" creationId="{E746B9F8-3B6F-4EF3-BBCF-86FA44E64B78}"/>
          </ac:spMkLst>
        </pc:spChg>
        <pc:picChg chg="add mod">
          <ac:chgData name="Hendriks, Rob" userId="c1397476-51d7-416b-9276-de9da7a1b8a6" providerId="ADAL" clId="{5530228B-0BD8-451E-BAD1-66B9143C59C5}" dt="2025-12-29T15:44:27.910" v="66" actId="1076"/>
          <ac:picMkLst>
            <pc:docMk/>
            <pc:sldMk cId="9088033" sldId="2147482518"/>
            <ac:picMk id="8" creationId="{FB92CE6F-A459-2B94-0654-1D98FE48F83E}"/>
          </ac:picMkLst>
        </pc:picChg>
      </pc:sldChg>
      <pc:sldChg chg="addSp delSp modSp new mod">
        <pc:chgData name="Hendriks, Rob" userId="c1397476-51d7-416b-9276-de9da7a1b8a6" providerId="ADAL" clId="{5530228B-0BD8-451E-BAD1-66B9143C59C5}" dt="2026-01-19T07:52:16.249" v="878" actId="255"/>
        <pc:sldMkLst>
          <pc:docMk/>
          <pc:sldMk cId="1082921514" sldId="2147482519"/>
        </pc:sldMkLst>
        <pc:spChg chg="mod">
          <ac:chgData name="Hendriks, Rob" userId="c1397476-51d7-416b-9276-de9da7a1b8a6" providerId="ADAL" clId="{5530228B-0BD8-451E-BAD1-66B9143C59C5}" dt="2026-01-19T07:52:16.249" v="878" actId="255"/>
          <ac:spMkLst>
            <pc:docMk/>
            <pc:sldMk cId="1082921514" sldId="2147482519"/>
            <ac:spMk id="3" creationId="{E64304AF-942A-6B50-7E72-DE0A3199950B}"/>
          </ac:spMkLst>
        </pc:spChg>
        <pc:spChg chg="add mod">
          <ac:chgData name="Hendriks, Rob" userId="c1397476-51d7-416b-9276-de9da7a1b8a6" providerId="ADAL" clId="{5530228B-0BD8-451E-BAD1-66B9143C59C5}" dt="2026-01-19T07:43:49.152" v="820" actId="20577"/>
          <ac:spMkLst>
            <pc:docMk/>
            <pc:sldMk cId="1082921514" sldId="2147482519"/>
            <ac:spMk id="7" creationId="{6AAA0AFE-E711-7E86-5AA5-DEE53CED429B}"/>
          </ac:spMkLst>
        </pc:spChg>
        <pc:spChg chg="add mod">
          <ac:chgData name="Hendriks, Rob" userId="c1397476-51d7-416b-9276-de9da7a1b8a6" providerId="ADAL" clId="{5530228B-0BD8-451E-BAD1-66B9143C59C5}" dt="2026-01-19T07:43:23.452" v="789" actId="20577"/>
          <ac:spMkLst>
            <pc:docMk/>
            <pc:sldMk cId="1082921514" sldId="2147482519"/>
            <ac:spMk id="8" creationId="{D06C1E8D-7682-4FB1-1EC4-06BBBB73A1A6}"/>
          </ac:spMkLst>
        </pc:spChg>
        <pc:spChg chg="add mod">
          <ac:chgData name="Hendriks, Rob" userId="c1397476-51d7-416b-9276-de9da7a1b8a6" providerId="ADAL" clId="{5530228B-0BD8-451E-BAD1-66B9143C59C5}" dt="2026-01-19T07:43:30.992" v="792" actId="1076"/>
          <ac:spMkLst>
            <pc:docMk/>
            <pc:sldMk cId="1082921514" sldId="2147482519"/>
            <ac:spMk id="9" creationId="{B9A9D25D-C1A9-CB79-A006-A3933208F10B}"/>
          </ac:spMkLst>
        </pc:spChg>
        <pc:picChg chg="add mod">
          <ac:chgData name="Hendriks, Rob" userId="c1397476-51d7-416b-9276-de9da7a1b8a6" providerId="ADAL" clId="{5530228B-0BD8-451E-BAD1-66B9143C59C5}" dt="2026-01-19T07:43:28.847" v="791" actId="1076"/>
          <ac:picMkLst>
            <pc:docMk/>
            <pc:sldMk cId="1082921514" sldId="2147482519"/>
            <ac:picMk id="4" creationId="{D9BE37C8-A972-59A9-5253-65D9DD6CA225}"/>
          </ac:picMkLst>
        </pc:picChg>
        <pc:picChg chg="add del mod">
          <ac:chgData name="Hendriks, Rob" userId="c1397476-51d7-416b-9276-de9da7a1b8a6" providerId="ADAL" clId="{5530228B-0BD8-451E-BAD1-66B9143C59C5}" dt="2026-01-19T07:42:22.259" v="755" actId="478"/>
          <ac:picMkLst>
            <pc:docMk/>
            <pc:sldMk cId="1082921514" sldId="2147482519"/>
            <ac:picMk id="5" creationId="{F95A0634-A5EF-1631-07E7-1CB6BE544362}"/>
          </ac:picMkLst>
        </pc:pic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278487FA-FF84-1B5E-CCCB-2A088FAB9235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0E177DAF-43A1-58DD-E748-93BE0ACB5B41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444211C-4A9E-8C4C-97BD-75A74A820AC7}" type="datetimeFigureOut">
              <a:rPr lang="en-US" smtClean="0">
                <a:latin typeface="Calibri" panose="020F0502020204030204" pitchFamily="34" charset="0"/>
                <a:cs typeface="Calibri" panose="020F0502020204030204" pitchFamily="34" charset="0"/>
              </a:rPr>
              <a:t>1/19/2026</a:t>
            </a:fld>
            <a:endParaRPr lang="en-US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4004EE5-42B0-7389-3EEA-8484AE07F1AF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8A68BA1-9C50-DD81-9DB3-53BBF5BA2C3F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B0AC1E4-93AF-6C46-A091-93B307E81D8D}" type="slidenum">
              <a:rPr lang="en-US" smtClean="0">
                <a:latin typeface="Calibri" panose="020F0502020204030204" pitchFamily="34" charset="0"/>
                <a:cs typeface="Calibri" panose="020F0502020204030204" pitchFamily="34" charset="0"/>
              </a:rPr>
              <a:t>‹#›</a:t>
            </a:fld>
            <a:endParaRPr lang="en-US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0039964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Calibri" panose="020F0502020204030204" pitchFamily="34" charset="0"/>
              </a:defRPr>
            </a:lvl1pPr>
          </a:lstStyle>
          <a:p>
            <a:fld id="{533895C0-2991-1741-81AF-563E5518032A}" type="datetimeFigureOut">
              <a:rPr lang="en-US" smtClean="0"/>
              <a:pPr/>
              <a:t>1/19/2026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Calibri" panose="020F0502020204030204" pitchFamily="34" charset="0"/>
              </a:defRPr>
            </a:lvl1pPr>
          </a:lstStyle>
          <a:p>
            <a:fld id="{9875E972-9F07-2B4C-A7FE-11ACC38BEE92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077478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875E972-9F07-2B4C-A7FE-11ACC38BEE92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37774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875E972-9F07-2B4C-A7FE-11ACC38BEE92}" type="slidenum">
              <a:rPr lang="en-US" smtClean="0"/>
              <a:pPr/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5188683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875E972-9F07-2B4C-A7FE-11ACC38BEE92}" type="slidenum">
              <a:rPr lang="en-US" smtClean="0"/>
              <a:pPr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985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875E972-9F07-2B4C-A7FE-11ACC38BEE92}" type="slidenum">
              <a:rPr lang="en-US" smtClean="0"/>
              <a:pPr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1526921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875E972-9F07-2B4C-A7FE-11ACC38BEE92}" type="slidenum">
              <a:rPr lang="en-US" smtClean="0"/>
              <a:pPr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4435570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5BE46D6-FD34-0335-2348-5A0E0428200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3AFC0C27-ABFA-523A-CB8F-25896154222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E039E21B-5987-968D-F491-04D173A418B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NL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C274540-8CDF-94D3-B2F0-531AD96BE1A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875E972-9F07-2B4C-A7FE-11ACC38BEE92}" type="slidenum">
              <a:rPr lang="en-US" smtClean="0"/>
              <a:pPr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1267750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875E972-9F07-2B4C-A7FE-11ACC38BEE92}" type="slidenum">
              <a:rPr lang="en-US" smtClean="0"/>
              <a:pPr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4641909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875E972-9F07-2B4C-A7FE-11ACC38BEE92}" type="slidenum">
              <a:rPr lang="en-US" smtClean="0"/>
              <a:pPr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533235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875E972-9F07-2B4C-A7FE-11ACC38BEE92}" type="slidenum">
              <a:rPr lang="en-US" smtClean="0"/>
              <a:pPr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4331152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875E972-9F07-2B4C-A7FE-11ACC38BEE92}" type="slidenum">
              <a:rPr lang="en-US" smtClean="0"/>
              <a:pPr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8830291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microsoft.com/office/2007/relationships/hdphoto" Target="../media/hdphoto3.wdp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2.bin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image" Target="../media/image7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1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image" Target="../media/image8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1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6" Type="http://schemas.openxmlformats.org/officeDocument/2006/relationships/image" Target="../media/image8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1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image" Target="../media/image7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1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blue (vertical logo)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72C8AFC2-36E4-52EC-B86B-1DDFCE24213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white">
          <a:xfrm>
            <a:off x="502921" y="4466513"/>
            <a:ext cx="4297680" cy="182880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2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Date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B5E74CAA-EA60-CED8-13BE-2CFDF3D286E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white">
          <a:xfrm>
            <a:off x="502921" y="4277299"/>
            <a:ext cx="4297680" cy="182880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2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Title and Business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CB44A6A6-80D1-A231-5BCE-9159D9EAB67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white">
          <a:xfrm>
            <a:off x="502921" y="4088085"/>
            <a:ext cx="4297680" cy="182880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Author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392513AC-DD08-E431-BEF0-0302DD19755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02920" y="2057400"/>
            <a:ext cx="6035040" cy="1207008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32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Presentation title</a:t>
            </a:r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D265EDB1-2D49-0860-F31E-C48BA83356D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02920" y="1764792"/>
            <a:ext cx="6035040" cy="17145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1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Optional header</a:t>
            </a:r>
          </a:p>
        </p:txBody>
      </p:sp>
      <p:pic>
        <p:nvPicPr>
          <p:cNvPr id="2" name="Picture 1" descr="A blue and black logo&#10;&#10;Description automatically generated">
            <a:extLst>
              <a:ext uri="{FF2B5EF4-FFF2-40B4-BE49-F238E27FC236}">
                <a16:creationId xmlns:a16="http://schemas.microsoft.com/office/drawing/2014/main" id="{0454C2E0-1A4D-C3BC-8805-19BA074B450F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27277" y="283122"/>
            <a:ext cx="841742" cy="4579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50482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 xmlns:a16="http://schemas.microsoft.com/office/drawing/2014/main" xmlns:a14="http://schemas.microsoft.com/office/drawing/2010/main">
      <p:transition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and 1/2 imag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14">
            <a:extLst>
              <a:ext uri="{FF2B5EF4-FFF2-40B4-BE49-F238E27FC236}">
                <a16:creationId xmlns:a16="http://schemas.microsoft.com/office/drawing/2014/main" id="{4D4ADBDF-40DC-0727-7500-3CB2AD529793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4572000" y="0"/>
            <a:ext cx="4572000" cy="5143500"/>
          </a:xfrm>
          <a:custGeom>
            <a:avLst/>
            <a:gdLst>
              <a:gd name="connsiteX0" fmla="*/ 4290930 w 4572000"/>
              <a:gd name="connsiteY0" fmla="*/ 4918662 h 5143500"/>
              <a:gd name="connsiteX1" fmla="*/ 4290937 w 4572000"/>
              <a:gd name="connsiteY1" fmla="*/ 4918670 h 5143500"/>
              <a:gd name="connsiteX2" fmla="*/ 4290930 w 4572000"/>
              <a:gd name="connsiteY2" fmla="*/ 4918680 h 5143500"/>
              <a:gd name="connsiteX3" fmla="*/ 4185882 w 4572000"/>
              <a:gd name="connsiteY3" fmla="*/ 4908682 h 5143500"/>
              <a:gd name="connsiteX4" fmla="*/ 4211191 w 4572000"/>
              <a:gd name="connsiteY4" fmla="*/ 4931060 h 5143500"/>
              <a:gd name="connsiteX5" fmla="*/ 4185882 w 4572000"/>
              <a:gd name="connsiteY5" fmla="*/ 4955819 h 5143500"/>
              <a:gd name="connsiteX6" fmla="*/ 4180150 w 4572000"/>
              <a:gd name="connsiteY6" fmla="*/ 4955819 h 5143500"/>
              <a:gd name="connsiteX7" fmla="*/ 4180150 w 4572000"/>
              <a:gd name="connsiteY7" fmla="*/ 4908800 h 5143500"/>
              <a:gd name="connsiteX8" fmla="*/ 4185882 w 4572000"/>
              <a:gd name="connsiteY8" fmla="*/ 4908682 h 5143500"/>
              <a:gd name="connsiteX9" fmla="*/ 3737514 w 4572000"/>
              <a:gd name="connsiteY9" fmla="*/ 4908682 h 5143500"/>
              <a:gd name="connsiteX10" fmla="*/ 3762824 w 4572000"/>
              <a:gd name="connsiteY10" fmla="*/ 4931060 h 5143500"/>
              <a:gd name="connsiteX11" fmla="*/ 3737514 w 4572000"/>
              <a:gd name="connsiteY11" fmla="*/ 4955819 h 5143500"/>
              <a:gd name="connsiteX12" fmla="*/ 3731782 w 4572000"/>
              <a:gd name="connsiteY12" fmla="*/ 4955819 h 5143500"/>
              <a:gd name="connsiteX13" fmla="*/ 3731782 w 4572000"/>
              <a:gd name="connsiteY13" fmla="*/ 4908800 h 5143500"/>
              <a:gd name="connsiteX14" fmla="*/ 3737514 w 4572000"/>
              <a:gd name="connsiteY14" fmla="*/ 4908682 h 5143500"/>
              <a:gd name="connsiteX15" fmla="*/ 4084176 w 4572000"/>
              <a:gd name="connsiteY15" fmla="*/ 4889642 h 5143500"/>
              <a:gd name="connsiteX16" fmla="*/ 4084176 w 4572000"/>
              <a:gd name="connsiteY16" fmla="*/ 5003422 h 5143500"/>
              <a:gd name="connsiteX17" fmla="*/ 4119036 w 4572000"/>
              <a:gd name="connsiteY17" fmla="*/ 5003422 h 5143500"/>
              <a:gd name="connsiteX18" fmla="*/ 4119036 w 4572000"/>
              <a:gd name="connsiteY18" fmla="*/ 4889642 h 5143500"/>
              <a:gd name="connsiteX19" fmla="*/ 4003476 w 4572000"/>
              <a:gd name="connsiteY19" fmla="*/ 4889642 h 5143500"/>
              <a:gd name="connsiteX20" fmla="*/ 4003476 w 4572000"/>
              <a:gd name="connsiteY20" fmla="*/ 5003422 h 5143500"/>
              <a:gd name="connsiteX21" fmla="*/ 4066503 w 4572000"/>
              <a:gd name="connsiteY21" fmla="*/ 5003422 h 5143500"/>
              <a:gd name="connsiteX22" fmla="*/ 4071759 w 4572000"/>
              <a:gd name="connsiteY22" fmla="*/ 4980570 h 5143500"/>
              <a:gd name="connsiteX23" fmla="*/ 4038337 w 4572000"/>
              <a:gd name="connsiteY23" fmla="*/ 4980570 h 5143500"/>
              <a:gd name="connsiteX24" fmla="*/ 4038337 w 4572000"/>
              <a:gd name="connsiteY24" fmla="*/ 4889642 h 5143500"/>
              <a:gd name="connsiteX25" fmla="*/ 3942839 w 4572000"/>
              <a:gd name="connsiteY25" fmla="*/ 4889642 h 5143500"/>
              <a:gd name="connsiteX26" fmla="*/ 3942839 w 4572000"/>
              <a:gd name="connsiteY26" fmla="*/ 5003422 h 5143500"/>
              <a:gd name="connsiteX27" fmla="*/ 3977700 w 4572000"/>
              <a:gd name="connsiteY27" fmla="*/ 5003422 h 5143500"/>
              <a:gd name="connsiteX28" fmla="*/ 3977700 w 4572000"/>
              <a:gd name="connsiteY28" fmla="*/ 4889642 h 5143500"/>
              <a:gd name="connsiteX29" fmla="*/ 3811044 w 4572000"/>
              <a:gd name="connsiteY29" fmla="*/ 4889642 h 5143500"/>
              <a:gd name="connsiteX30" fmla="*/ 3811044 w 4572000"/>
              <a:gd name="connsiteY30" fmla="*/ 5003422 h 5143500"/>
              <a:gd name="connsiteX31" fmla="*/ 3845905 w 4572000"/>
              <a:gd name="connsiteY31" fmla="*/ 5003422 h 5143500"/>
              <a:gd name="connsiteX32" fmla="*/ 3845905 w 4572000"/>
              <a:gd name="connsiteY32" fmla="*/ 4958675 h 5143500"/>
              <a:gd name="connsiteX33" fmla="*/ 3882193 w 4572000"/>
              <a:gd name="connsiteY33" fmla="*/ 4958675 h 5143500"/>
              <a:gd name="connsiteX34" fmla="*/ 3882193 w 4572000"/>
              <a:gd name="connsiteY34" fmla="*/ 5003422 h 5143500"/>
              <a:gd name="connsiteX35" fmla="*/ 3917054 w 4572000"/>
              <a:gd name="connsiteY35" fmla="*/ 5003422 h 5143500"/>
              <a:gd name="connsiteX36" fmla="*/ 3917054 w 4572000"/>
              <a:gd name="connsiteY36" fmla="*/ 4889642 h 5143500"/>
              <a:gd name="connsiteX37" fmla="*/ 3882193 w 4572000"/>
              <a:gd name="connsiteY37" fmla="*/ 4889642 h 5143500"/>
              <a:gd name="connsiteX38" fmla="*/ 3882193 w 4572000"/>
              <a:gd name="connsiteY38" fmla="*/ 4934873 h 5143500"/>
              <a:gd name="connsiteX39" fmla="*/ 3845905 w 4572000"/>
              <a:gd name="connsiteY39" fmla="*/ 4934873 h 5143500"/>
              <a:gd name="connsiteX40" fmla="*/ 3845905 w 4572000"/>
              <a:gd name="connsiteY40" fmla="*/ 4889642 h 5143500"/>
              <a:gd name="connsiteX41" fmla="*/ 4187786 w 4572000"/>
              <a:gd name="connsiteY41" fmla="*/ 4887261 h 5143500"/>
              <a:gd name="connsiteX42" fmla="*/ 4145289 w 4572000"/>
              <a:gd name="connsiteY42" fmla="*/ 4889642 h 5143500"/>
              <a:gd name="connsiteX43" fmla="*/ 4145289 w 4572000"/>
              <a:gd name="connsiteY43" fmla="*/ 5003422 h 5143500"/>
              <a:gd name="connsiteX44" fmla="*/ 4180150 w 4572000"/>
              <a:gd name="connsiteY44" fmla="*/ 5003422 h 5143500"/>
              <a:gd name="connsiteX45" fmla="*/ 4180150 w 4572000"/>
              <a:gd name="connsiteY45" fmla="*/ 4976282 h 5143500"/>
              <a:gd name="connsiteX46" fmla="*/ 4192566 w 4572000"/>
              <a:gd name="connsiteY46" fmla="*/ 4976282 h 5143500"/>
              <a:gd name="connsiteX47" fmla="*/ 4192566 w 4572000"/>
              <a:gd name="connsiteY47" fmla="*/ 4976291 h 5143500"/>
              <a:gd name="connsiteX48" fmla="*/ 4245567 w 4572000"/>
              <a:gd name="connsiteY48" fmla="*/ 4930586 h 5143500"/>
              <a:gd name="connsiteX49" fmla="*/ 4187786 w 4572000"/>
              <a:gd name="connsiteY49" fmla="*/ 4887261 h 5143500"/>
              <a:gd name="connsiteX50" fmla="*/ 3739428 w 4572000"/>
              <a:gd name="connsiteY50" fmla="*/ 4887261 h 5143500"/>
              <a:gd name="connsiteX51" fmla="*/ 3696931 w 4572000"/>
              <a:gd name="connsiteY51" fmla="*/ 4889642 h 5143500"/>
              <a:gd name="connsiteX52" fmla="*/ 3696931 w 4572000"/>
              <a:gd name="connsiteY52" fmla="*/ 5003422 h 5143500"/>
              <a:gd name="connsiteX53" fmla="*/ 3731791 w 4572000"/>
              <a:gd name="connsiteY53" fmla="*/ 5003422 h 5143500"/>
              <a:gd name="connsiteX54" fmla="*/ 3731791 w 4572000"/>
              <a:gd name="connsiteY54" fmla="*/ 4976282 h 5143500"/>
              <a:gd name="connsiteX55" fmla="*/ 3744208 w 4572000"/>
              <a:gd name="connsiteY55" fmla="*/ 4976282 h 5143500"/>
              <a:gd name="connsiteX56" fmla="*/ 3744199 w 4572000"/>
              <a:gd name="connsiteY56" fmla="*/ 4976291 h 5143500"/>
              <a:gd name="connsiteX57" fmla="*/ 3797199 w 4572000"/>
              <a:gd name="connsiteY57" fmla="*/ 4930586 h 5143500"/>
              <a:gd name="connsiteX58" fmla="*/ 3739428 w 4572000"/>
              <a:gd name="connsiteY58" fmla="*/ 4887261 h 5143500"/>
              <a:gd name="connsiteX59" fmla="*/ 4303337 w 4572000"/>
              <a:gd name="connsiteY59" fmla="*/ 4887252 h 5143500"/>
              <a:gd name="connsiteX60" fmla="*/ 4256069 w 4572000"/>
              <a:gd name="connsiteY60" fmla="*/ 4921527 h 5143500"/>
              <a:gd name="connsiteX61" fmla="*/ 4310507 w 4572000"/>
              <a:gd name="connsiteY61" fmla="*/ 4971994 h 5143500"/>
              <a:gd name="connsiteX62" fmla="*/ 4292367 w 4572000"/>
              <a:gd name="connsiteY62" fmla="*/ 4982942 h 5143500"/>
              <a:gd name="connsiteX63" fmla="*/ 4252736 w 4572000"/>
              <a:gd name="connsiteY63" fmla="*/ 4973892 h 5143500"/>
              <a:gd name="connsiteX64" fmla="*/ 4256555 w 4572000"/>
              <a:gd name="connsiteY64" fmla="*/ 5000074 h 5143500"/>
              <a:gd name="connsiteX65" fmla="*/ 4292844 w 4572000"/>
              <a:gd name="connsiteY65" fmla="*/ 5005785 h 5143500"/>
              <a:gd name="connsiteX66" fmla="*/ 4345844 w 4572000"/>
              <a:gd name="connsiteY66" fmla="*/ 4967697 h 5143500"/>
              <a:gd name="connsiteX67" fmla="*/ 4299510 w 4572000"/>
              <a:gd name="connsiteY67" fmla="*/ 4928600 h 5143500"/>
              <a:gd name="connsiteX68" fmla="*/ 4290937 w 4572000"/>
              <a:gd name="connsiteY68" fmla="*/ 4918670 h 5143500"/>
              <a:gd name="connsiteX69" fmla="*/ 4295287 w 4572000"/>
              <a:gd name="connsiteY69" fmla="*/ 4911836 h 5143500"/>
              <a:gd name="connsiteX70" fmla="*/ 4307165 w 4572000"/>
              <a:gd name="connsiteY70" fmla="*/ 4909630 h 5143500"/>
              <a:gd name="connsiteX71" fmla="*/ 4338198 w 4572000"/>
              <a:gd name="connsiteY71" fmla="*/ 4915341 h 5143500"/>
              <a:gd name="connsiteX72" fmla="*/ 4335332 w 4572000"/>
              <a:gd name="connsiteY72" fmla="*/ 4890582 h 5143500"/>
              <a:gd name="connsiteX73" fmla="*/ 4303337 w 4572000"/>
              <a:gd name="connsiteY73" fmla="*/ 4887252 h 5143500"/>
              <a:gd name="connsiteX74" fmla="*/ 0 w 4572000"/>
              <a:gd name="connsiteY74" fmla="*/ 0 h 5143500"/>
              <a:gd name="connsiteX75" fmla="*/ 4572000 w 4572000"/>
              <a:gd name="connsiteY75" fmla="*/ 0 h 5143500"/>
              <a:gd name="connsiteX76" fmla="*/ 4572000 w 4572000"/>
              <a:gd name="connsiteY76" fmla="*/ 5143500 h 5143500"/>
              <a:gd name="connsiteX77" fmla="*/ 0 w 4572000"/>
              <a:gd name="connsiteY77" fmla="*/ 5143500 h 5143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</a:cxnLst>
            <a:rect l="l" t="t" r="r" b="b"/>
            <a:pathLst>
              <a:path w="4572000" h="5143500">
                <a:moveTo>
                  <a:pt x="4290930" y="4918662"/>
                </a:moveTo>
                <a:lnTo>
                  <a:pt x="4290937" y="4918670"/>
                </a:lnTo>
                <a:lnTo>
                  <a:pt x="4290930" y="4918680"/>
                </a:lnTo>
                <a:close/>
                <a:moveTo>
                  <a:pt x="4185882" y="4908682"/>
                </a:moveTo>
                <a:cubicBezTo>
                  <a:pt x="4203069" y="4908682"/>
                  <a:pt x="4211191" y="4916774"/>
                  <a:pt x="4211191" y="4931060"/>
                </a:cubicBezTo>
                <a:cubicBezTo>
                  <a:pt x="4211191" y="4945821"/>
                  <a:pt x="4204031" y="4955819"/>
                  <a:pt x="4185882" y="4955819"/>
                </a:cubicBezTo>
                <a:lnTo>
                  <a:pt x="4180150" y="4955819"/>
                </a:lnTo>
                <a:lnTo>
                  <a:pt x="4180150" y="4908800"/>
                </a:lnTo>
                <a:cubicBezTo>
                  <a:pt x="4182173" y="4908682"/>
                  <a:pt x="4184087" y="4908682"/>
                  <a:pt x="4185882" y="4908682"/>
                </a:cubicBezTo>
                <a:close/>
                <a:moveTo>
                  <a:pt x="3737514" y="4908682"/>
                </a:moveTo>
                <a:cubicBezTo>
                  <a:pt x="3754702" y="4908682"/>
                  <a:pt x="3762824" y="4916774"/>
                  <a:pt x="3762824" y="4931060"/>
                </a:cubicBezTo>
                <a:cubicBezTo>
                  <a:pt x="3762824" y="4945821"/>
                  <a:pt x="3755663" y="4955819"/>
                  <a:pt x="3737514" y="4955819"/>
                </a:cubicBezTo>
                <a:lnTo>
                  <a:pt x="3731782" y="4955819"/>
                </a:lnTo>
                <a:lnTo>
                  <a:pt x="3731782" y="4908800"/>
                </a:lnTo>
                <a:cubicBezTo>
                  <a:pt x="3733815" y="4908682"/>
                  <a:pt x="3735720" y="4908682"/>
                  <a:pt x="3737514" y="4908682"/>
                </a:cubicBezTo>
                <a:close/>
                <a:moveTo>
                  <a:pt x="4084176" y="4889642"/>
                </a:moveTo>
                <a:lnTo>
                  <a:pt x="4084176" y="5003422"/>
                </a:lnTo>
                <a:lnTo>
                  <a:pt x="4119036" y="5003422"/>
                </a:lnTo>
                <a:lnTo>
                  <a:pt x="4119036" y="4889642"/>
                </a:lnTo>
                <a:close/>
                <a:moveTo>
                  <a:pt x="4003476" y="4889642"/>
                </a:moveTo>
                <a:lnTo>
                  <a:pt x="4003476" y="5003422"/>
                </a:lnTo>
                <a:lnTo>
                  <a:pt x="4066503" y="5003422"/>
                </a:lnTo>
                <a:lnTo>
                  <a:pt x="4071759" y="4980570"/>
                </a:lnTo>
                <a:lnTo>
                  <a:pt x="4038337" y="4980570"/>
                </a:lnTo>
                <a:lnTo>
                  <a:pt x="4038337" y="4889642"/>
                </a:lnTo>
                <a:close/>
                <a:moveTo>
                  <a:pt x="3942839" y="4889642"/>
                </a:moveTo>
                <a:lnTo>
                  <a:pt x="3942839" y="5003422"/>
                </a:lnTo>
                <a:lnTo>
                  <a:pt x="3977700" y="5003422"/>
                </a:lnTo>
                <a:lnTo>
                  <a:pt x="3977700" y="4889642"/>
                </a:lnTo>
                <a:close/>
                <a:moveTo>
                  <a:pt x="3811044" y="4889642"/>
                </a:moveTo>
                <a:lnTo>
                  <a:pt x="3811044" y="5003422"/>
                </a:lnTo>
                <a:lnTo>
                  <a:pt x="3845905" y="5003422"/>
                </a:lnTo>
                <a:lnTo>
                  <a:pt x="3845905" y="4958675"/>
                </a:lnTo>
                <a:lnTo>
                  <a:pt x="3882193" y="4958675"/>
                </a:lnTo>
                <a:lnTo>
                  <a:pt x="3882193" y="5003422"/>
                </a:lnTo>
                <a:lnTo>
                  <a:pt x="3917054" y="5003422"/>
                </a:lnTo>
                <a:lnTo>
                  <a:pt x="3917054" y="4889642"/>
                </a:lnTo>
                <a:lnTo>
                  <a:pt x="3882193" y="4889642"/>
                </a:lnTo>
                <a:lnTo>
                  <a:pt x="3882193" y="4934873"/>
                </a:lnTo>
                <a:lnTo>
                  <a:pt x="3845905" y="4934873"/>
                </a:lnTo>
                <a:lnTo>
                  <a:pt x="3845905" y="4889642"/>
                </a:lnTo>
                <a:close/>
                <a:moveTo>
                  <a:pt x="4187786" y="4887261"/>
                </a:moveTo>
                <a:cubicBezTo>
                  <a:pt x="4173941" y="4887261"/>
                  <a:pt x="4157230" y="4888210"/>
                  <a:pt x="4145289" y="4889642"/>
                </a:cubicBezTo>
                <a:lnTo>
                  <a:pt x="4145289" y="5003422"/>
                </a:lnTo>
                <a:lnTo>
                  <a:pt x="4180150" y="5003422"/>
                </a:lnTo>
                <a:lnTo>
                  <a:pt x="4180150" y="4976282"/>
                </a:lnTo>
                <a:lnTo>
                  <a:pt x="4192566" y="4976282"/>
                </a:lnTo>
                <a:lnTo>
                  <a:pt x="4192566" y="4976291"/>
                </a:lnTo>
                <a:cubicBezTo>
                  <a:pt x="4225037" y="4976291"/>
                  <a:pt x="4245567" y="4959633"/>
                  <a:pt x="4245567" y="4930586"/>
                </a:cubicBezTo>
                <a:cubicBezTo>
                  <a:pt x="4245567" y="4898692"/>
                  <a:pt x="4223599" y="4887261"/>
                  <a:pt x="4187786" y="4887261"/>
                </a:cubicBezTo>
                <a:close/>
                <a:moveTo>
                  <a:pt x="3739428" y="4887261"/>
                </a:moveTo>
                <a:cubicBezTo>
                  <a:pt x="3725583" y="4887261"/>
                  <a:pt x="3708872" y="4888210"/>
                  <a:pt x="3696931" y="4889642"/>
                </a:cubicBezTo>
                <a:lnTo>
                  <a:pt x="3696931" y="5003422"/>
                </a:lnTo>
                <a:lnTo>
                  <a:pt x="3731791" y="5003422"/>
                </a:lnTo>
                <a:lnTo>
                  <a:pt x="3731791" y="4976282"/>
                </a:lnTo>
                <a:lnTo>
                  <a:pt x="3744208" y="4976282"/>
                </a:lnTo>
                <a:lnTo>
                  <a:pt x="3744199" y="4976291"/>
                </a:lnTo>
                <a:cubicBezTo>
                  <a:pt x="3776669" y="4976291"/>
                  <a:pt x="3797199" y="4959633"/>
                  <a:pt x="3797199" y="4930586"/>
                </a:cubicBezTo>
                <a:cubicBezTo>
                  <a:pt x="3797208" y="4898683"/>
                  <a:pt x="3775241" y="4887261"/>
                  <a:pt x="3739428" y="4887261"/>
                </a:cubicBezTo>
                <a:close/>
                <a:moveTo>
                  <a:pt x="4303337" y="4887252"/>
                </a:moveTo>
                <a:cubicBezTo>
                  <a:pt x="4275162" y="4887252"/>
                  <a:pt x="4256069" y="4898318"/>
                  <a:pt x="4256069" y="4921527"/>
                </a:cubicBezTo>
                <a:cubicBezTo>
                  <a:pt x="4256069" y="4961521"/>
                  <a:pt x="4310507" y="4953429"/>
                  <a:pt x="4310507" y="4971994"/>
                </a:cubicBezTo>
                <a:cubicBezTo>
                  <a:pt x="4310507" y="4979137"/>
                  <a:pt x="4305251" y="4982942"/>
                  <a:pt x="4292367" y="4982942"/>
                </a:cubicBezTo>
                <a:cubicBezTo>
                  <a:pt x="4280903" y="4982942"/>
                  <a:pt x="4263239" y="4979137"/>
                  <a:pt x="4252736" y="4973892"/>
                </a:cubicBezTo>
                <a:lnTo>
                  <a:pt x="4256555" y="5000074"/>
                </a:lnTo>
                <a:cubicBezTo>
                  <a:pt x="4267058" y="5003888"/>
                  <a:pt x="4281388" y="5005785"/>
                  <a:pt x="4292844" y="5005785"/>
                </a:cubicBezTo>
                <a:cubicBezTo>
                  <a:pt x="4321972" y="5005785"/>
                  <a:pt x="4345844" y="4996261"/>
                  <a:pt x="4345844" y="4967697"/>
                </a:cubicBezTo>
                <a:cubicBezTo>
                  <a:pt x="4345844" y="4939131"/>
                  <a:pt x="4314955" y="4936008"/>
                  <a:pt x="4299510" y="4928600"/>
                </a:cubicBezTo>
                <a:lnTo>
                  <a:pt x="4290937" y="4918670"/>
                </a:lnTo>
                <a:lnTo>
                  <a:pt x="4295287" y="4911836"/>
                </a:lnTo>
                <a:cubicBezTo>
                  <a:pt x="4298093" y="4910346"/>
                  <a:pt x="4302152" y="4909630"/>
                  <a:pt x="4307165" y="4909630"/>
                </a:cubicBezTo>
                <a:cubicBezTo>
                  <a:pt x="4318144" y="4909630"/>
                  <a:pt x="4330085" y="4912011"/>
                  <a:pt x="4338198" y="4915341"/>
                </a:cubicBezTo>
                <a:lnTo>
                  <a:pt x="4335332" y="4890582"/>
                </a:lnTo>
                <a:cubicBezTo>
                  <a:pt x="4326257" y="4888675"/>
                  <a:pt x="4318144" y="4887252"/>
                  <a:pt x="4303337" y="4887252"/>
                </a:cubicBezTo>
                <a:close/>
                <a:moveTo>
                  <a:pt x="0" y="0"/>
                </a:moveTo>
                <a:lnTo>
                  <a:pt x="4572000" y="0"/>
                </a:lnTo>
                <a:lnTo>
                  <a:pt x="4572000" y="5143500"/>
                </a:lnTo>
                <a:lnTo>
                  <a:pt x="0" y="514350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vert="horz" wrap="square" lIns="0" tIns="0" rIns="0" bIns="0" spcCol="324000" rtlCol="0" anchor="ctr">
            <a:noAutofit/>
          </a:bodyPr>
          <a:lstStyle>
            <a:lvl1pPr marL="0" indent="0" algn="ctr">
              <a:spcAft>
                <a:spcPts val="0"/>
              </a:spcAft>
              <a:buNone/>
              <a:defRPr lang="en-US" dirty="0"/>
            </a:lvl1pPr>
          </a:lstStyle>
          <a:p>
            <a:pPr marL="0" lvl="0" indent="0" algn="ctr">
              <a:buNone/>
            </a:pPr>
            <a:r>
              <a:rPr lang="en-US" noProof="0" dirty="0"/>
              <a:t>Click icon to insert your photo OR</a:t>
            </a:r>
            <a:br>
              <a:rPr lang="en-US" noProof="0" dirty="0"/>
            </a:br>
            <a:r>
              <a:rPr lang="en-US" noProof="0" dirty="0"/>
              <a:t>select one from PAL through Templafy </a:t>
            </a: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Then, use “Crop” to recenter and resize</a:t>
            </a:r>
            <a:br>
              <a:rPr lang="en-US" noProof="0" dirty="0"/>
            </a:br>
            <a:r>
              <a:rPr lang="en-US" noProof="0" dirty="0"/>
              <a:t>your image if your subject appears off-center</a:t>
            </a:r>
          </a:p>
        </p:txBody>
      </p:sp>
      <p:sp>
        <p:nvSpPr>
          <p:cNvPr id="6" name="Footer Placeholder 11">
            <a:extLst>
              <a:ext uri="{FF2B5EF4-FFF2-40B4-BE49-F238E27FC236}">
                <a16:creationId xmlns:a16="http://schemas.microsoft.com/office/drawing/2014/main" id="{876D54D5-622D-C8E4-CD5C-2D01FEA4B5B3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>
          <a:xfrm>
            <a:off x="502919" y="4928616"/>
            <a:ext cx="3657600" cy="9144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" name="Slide Number Placeholder 12">
            <a:extLst>
              <a:ext uri="{FF2B5EF4-FFF2-40B4-BE49-F238E27FC236}">
                <a16:creationId xmlns:a16="http://schemas.microsoft.com/office/drawing/2014/main" id="{0431AD5C-8671-9AFE-04DD-0F34103D9F11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>
          <a:xfrm>
            <a:off x="182123" y="4928616"/>
            <a:ext cx="199973" cy="9144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fld id="{A5163908-529D-4A49-892F-D37C4044DFD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1EABECB-BF56-1EC1-700B-6EE80491A786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502104" y="1839282"/>
            <a:ext cx="3657280" cy="2856543"/>
          </a:xfrm>
        </p:spPr>
        <p:txBody>
          <a:bodyPr/>
          <a:lstStyle>
            <a:lvl1pPr>
              <a:spcAft>
                <a:spcPts val="600"/>
              </a:spcAft>
              <a:buClr>
                <a:schemeClr val="bg1"/>
              </a:buClr>
              <a:buSzPct val="75000"/>
              <a:defRPr>
                <a:solidFill>
                  <a:schemeClr val="bg1"/>
                </a:solidFill>
              </a:defRPr>
            </a:lvl1pPr>
            <a:lvl2pPr>
              <a:spcAft>
                <a:spcPts val="600"/>
              </a:spcAft>
              <a:buClr>
                <a:schemeClr val="bg1"/>
              </a:buClr>
              <a:buSzPct val="75000"/>
              <a:defRPr>
                <a:solidFill>
                  <a:schemeClr val="bg1"/>
                </a:solidFill>
              </a:defRPr>
            </a:lvl2pPr>
            <a:lvl3pPr>
              <a:spcAft>
                <a:spcPts val="600"/>
              </a:spcAft>
              <a:buClr>
                <a:schemeClr val="bg1"/>
              </a:buClr>
              <a:buSzPct val="75000"/>
              <a:defRPr>
                <a:solidFill>
                  <a:schemeClr val="bg1"/>
                </a:solidFill>
              </a:defRPr>
            </a:lvl3pPr>
            <a:lvl4pPr>
              <a:spcAft>
                <a:spcPts val="600"/>
              </a:spcAft>
              <a:buClr>
                <a:schemeClr val="bg1"/>
              </a:buClr>
              <a:buSzPct val="75000"/>
              <a:defRPr>
                <a:solidFill>
                  <a:schemeClr val="bg1"/>
                </a:solidFill>
              </a:defRPr>
            </a:lvl4pPr>
            <a:lvl5pPr>
              <a:spcAft>
                <a:spcPts val="600"/>
              </a:spcAft>
              <a:buClr>
                <a:schemeClr val="bg1"/>
              </a:buClr>
              <a:buSzPct val="75000"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List item</a:t>
            </a:r>
          </a:p>
          <a:p>
            <a:pPr lvl="1"/>
            <a:r>
              <a:rPr lang="en-US" dirty="0"/>
              <a:t>List item</a:t>
            </a:r>
          </a:p>
          <a:p>
            <a:pPr lvl="2"/>
            <a:r>
              <a:rPr lang="en-US" dirty="0"/>
              <a:t>List item</a:t>
            </a:r>
          </a:p>
          <a:p>
            <a:pPr lvl="3"/>
            <a:r>
              <a:rPr lang="en-US" dirty="0"/>
              <a:t>List item</a:t>
            </a:r>
          </a:p>
          <a:p>
            <a:pPr lvl="4"/>
            <a:r>
              <a:rPr lang="en-US" dirty="0"/>
              <a:t>List item</a:t>
            </a:r>
          </a:p>
        </p:txBody>
      </p:sp>
      <p:sp>
        <p:nvSpPr>
          <p:cNvPr id="11" name="Title 5">
            <a:extLst>
              <a:ext uri="{FF2B5EF4-FFF2-40B4-BE49-F238E27FC236}">
                <a16:creationId xmlns:a16="http://schemas.microsoft.com/office/drawing/2014/main" id="{55C4CE81-E728-AD2F-72F4-655C91D5748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3238" y="974520"/>
            <a:ext cx="3657281" cy="719137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rgbClr val="BDF0FF"/>
                </a:solidFill>
              </a:defRPr>
            </a:lvl1pPr>
          </a:lstStyle>
          <a:p>
            <a:r>
              <a:rPr lang="en-US" dirty="0"/>
              <a:t>Type your headline here </a:t>
            </a:r>
            <a:br>
              <a:rPr lang="en-US" dirty="0"/>
            </a:br>
            <a:r>
              <a:rPr lang="en-US" dirty="0"/>
              <a:t>(ex: Agenda)</a:t>
            </a:r>
            <a:endParaRPr lang="en-GB" dirty="0"/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716CC379-2329-348A-A0BB-BF2305A004E9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502104" y="613446"/>
            <a:ext cx="2240280" cy="21544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="1">
                <a:solidFill>
                  <a:srgbClr val="BDF0FF"/>
                </a:solidFill>
              </a:defRPr>
            </a:lvl1pPr>
            <a:lvl2pPr marL="182876" indent="0">
              <a:buNone/>
              <a:defRPr sz="1400" b="1">
                <a:solidFill>
                  <a:schemeClr val="bg2"/>
                </a:solidFill>
              </a:defRPr>
            </a:lvl2pPr>
            <a:lvl3pPr marL="321810" indent="0">
              <a:buNone/>
              <a:defRPr sz="1400" b="1">
                <a:solidFill>
                  <a:schemeClr val="bg2"/>
                </a:solidFill>
              </a:defRPr>
            </a:lvl3pPr>
            <a:lvl4pPr marL="457189" indent="0">
              <a:buNone/>
              <a:defRPr sz="1400" b="1">
                <a:solidFill>
                  <a:schemeClr val="bg2"/>
                </a:solidFill>
              </a:defRPr>
            </a:lvl4pPr>
            <a:lvl5pPr marL="593709" indent="0">
              <a:buNone/>
              <a:defRPr sz="1400" b="1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Date</a:t>
            </a:r>
            <a:endParaRPr lang="en-GB" dirty="0"/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A88A61FA-8506-8BDE-75B7-56CF2CF1A598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502104" y="373904"/>
            <a:ext cx="2240280" cy="21544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="1">
                <a:solidFill>
                  <a:srgbClr val="BDF0FF"/>
                </a:solidFill>
              </a:defRPr>
            </a:lvl1pPr>
            <a:lvl2pPr marL="182876" indent="0">
              <a:buNone/>
              <a:defRPr sz="1400" b="1">
                <a:solidFill>
                  <a:schemeClr val="bg2"/>
                </a:solidFill>
              </a:defRPr>
            </a:lvl2pPr>
            <a:lvl3pPr marL="321810" indent="0">
              <a:buNone/>
              <a:defRPr sz="1400" b="1">
                <a:solidFill>
                  <a:schemeClr val="bg2"/>
                </a:solidFill>
              </a:defRPr>
            </a:lvl3pPr>
            <a:lvl4pPr marL="457189" indent="0">
              <a:buNone/>
              <a:defRPr sz="1400" b="1">
                <a:solidFill>
                  <a:schemeClr val="bg2"/>
                </a:solidFill>
              </a:defRPr>
            </a:lvl4pPr>
            <a:lvl5pPr marL="593709" indent="0">
              <a:buNone/>
              <a:defRPr sz="1400" b="1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Meeting/Event nam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57379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 xmlns:a16="http://schemas.microsoft.com/office/drawing/2014/main">
      <p:transition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blue (with image)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4">
            <a:extLst>
              <a:ext uri="{FF2B5EF4-FFF2-40B4-BE49-F238E27FC236}">
                <a16:creationId xmlns:a16="http://schemas.microsoft.com/office/drawing/2014/main" id="{9D78E995-A1DD-8545-84F0-DC4CDC5BD5FA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 userDrawn="1"/>
        </p:nvSpPr>
        <p:spPr>
          <a:xfrm>
            <a:off x="6319125" y="4928616"/>
            <a:ext cx="1620000" cy="91440"/>
          </a:xfrm>
          <a:prstGeom prst="rect">
            <a:avLst/>
          </a:prstGeom>
        </p:spPr>
        <p:txBody>
          <a:bodyPr vert="horz" lIns="0" tIns="0" rIns="0" bIns="0" rtlCol="0" anchor="t"/>
          <a:lstStyle>
            <a:defPPr>
              <a:defRPr lang="en-US"/>
            </a:defPPr>
            <a:lvl1pPr lvl="0">
              <a:defRPr sz="600" b="0" i="0">
                <a:cs typeface="Calibri Light" panose="020F0302020204030204" pitchFamily="34" charset="0"/>
              </a:defRPr>
            </a:lvl1pPr>
            <a:lvl2pPr marL="457140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78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17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55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69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834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97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11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600" dirty="0">
                <a:solidFill>
                  <a:schemeClr val="bg1"/>
                </a:solidFill>
                <a:latin typeface="+mj-lt"/>
              </a:rPr>
              <a:t>© 2024 Koninklijke Philips N.V. All rights reserved.</a:t>
            </a:r>
          </a:p>
        </p:txBody>
      </p:sp>
      <p:sp>
        <p:nvSpPr>
          <p:cNvPr id="8" name="Footer Placeholder 2">
            <a:extLst>
              <a:ext uri="{FF2B5EF4-FFF2-40B4-BE49-F238E27FC236}">
                <a16:creationId xmlns:a16="http://schemas.microsoft.com/office/drawing/2014/main" id="{D8B1C466-D200-4DC7-D0E2-B4A614BA5B2B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>
          <a:xfrm>
            <a:off x="5074920" y="4928616"/>
            <a:ext cx="914400" cy="9144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FF4F6A7D-29A9-865E-B1B3-84E34AE3133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74920" y="2212851"/>
            <a:ext cx="3179496" cy="719137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30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Philips blue divider, </a:t>
            </a:r>
            <a:br>
              <a:rPr lang="en-US" dirty="0"/>
            </a:br>
            <a:r>
              <a:rPr lang="en-US" dirty="0"/>
              <a:t>half photo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46CB73A-A9B6-13DF-87F7-3E10FF24BEDD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>
          <a:xfrm>
            <a:off x="182123" y="4928616"/>
            <a:ext cx="199973" cy="9144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fld id="{A5163908-529D-4A49-892F-D37C4044DFD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Picture Placeholder 4">
            <a:extLst>
              <a:ext uri="{FF2B5EF4-FFF2-40B4-BE49-F238E27FC236}">
                <a16:creationId xmlns:a16="http://schemas.microsoft.com/office/drawing/2014/main" id="{87F682B3-AF4A-91C9-4759-8E607A1666A2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0" y="0"/>
            <a:ext cx="4572000" cy="51435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vert="horz" wrap="square" lIns="0" tIns="0" rIns="0" bIns="0" spcCol="324000" rtlCol="0" anchor="ctr">
            <a:noAutofit/>
          </a:bodyPr>
          <a:lstStyle>
            <a:lvl1pPr marL="0" indent="0" algn="ctr">
              <a:spcAft>
                <a:spcPts val="0"/>
              </a:spcAft>
              <a:buNone/>
              <a:defRPr lang="en-US" dirty="0"/>
            </a:lvl1pPr>
          </a:lstStyle>
          <a:p>
            <a:pPr marL="0" lvl="0" indent="0" algn="ctr">
              <a:buNone/>
            </a:pPr>
            <a:r>
              <a:rPr lang="en-US" noProof="0" dirty="0"/>
              <a:t>Click icon to insert your photo OR</a:t>
            </a:r>
            <a:br>
              <a:rPr lang="en-US" noProof="0" dirty="0"/>
            </a:br>
            <a:r>
              <a:rPr lang="en-US" noProof="0" dirty="0"/>
              <a:t>select one from PAL through Templafy </a:t>
            </a: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Then, use “Crop” to recenter and resize</a:t>
            </a:r>
            <a:br>
              <a:rPr lang="en-US" noProof="0" dirty="0"/>
            </a:br>
            <a:r>
              <a:rPr lang="en-US" noProof="0" dirty="0"/>
              <a:t>your image if your subject appears off-center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3A37A77D-5A68-FA54-71E2-62A93FDC6A75}"/>
              </a:ext>
            </a:extLst>
          </p:cNvPr>
          <p:cNvPicPr>
            <a:picLocks noGrp="1" noRot="1" noMove="1" noResize="1" noEditPoints="1" noAdjustHandles="1" noChangeArrowheads="1" noChangeShapeType="1" noCrop="1"/>
          </p:cNvPicPr>
          <p:nvPr userDrawn="1"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268931" y="4887110"/>
            <a:ext cx="649224" cy="1182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04665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 xmlns:a16="http://schemas.microsoft.com/office/drawing/2014/main" xmlns:a14="http://schemas.microsoft.com/office/drawing/2010/main">
      <p:transition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- white (with image)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2">
            <a:extLst>
              <a:ext uri="{FF2B5EF4-FFF2-40B4-BE49-F238E27FC236}">
                <a16:creationId xmlns:a16="http://schemas.microsoft.com/office/drawing/2014/main" id="{3E2DADD8-E1E5-2BC7-F70F-856D65BF749E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>
          <a:xfrm>
            <a:off x="5074920" y="4928616"/>
            <a:ext cx="914400" cy="91440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541BE682-E648-A30F-488B-DAEEA0E0CB2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74920" y="2212851"/>
            <a:ext cx="3179496" cy="719137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300"/>
              </a:spcAft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White divider, </a:t>
            </a:r>
            <a:br>
              <a:rPr lang="en-US" dirty="0"/>
            </a:br>
            <a:r>
              <a:rPr lang="en-US" dirty="0"/>
              <a:t>half photo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5746B0B-2942-5B4C-DCB9-34A15D547F62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>
          <a:xfrm>
            <a:off x="182123" y="4928616"/>
            <a:ext cx="199973" cy="91440"/>
          </a:xfrm>
          <a:prstGeom prst="rect">
            <a:avLst/>
          </a:prstGeom>
        </p:spPr>
        <p:txBody>
          <a:bodyPr/>
          <a:lstStyle/>
          <a:p>
            <a:fld id="{A5163908-529D-4A49-892F-D37C4044DFD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Picture Placeholder 4">
            <a:extLst>
              <a:ext uri="{FF2B5EF4-FFF2-40B4-BE49-F238E27FC236}">
                <a16:creationId xmlns:a16="http://schemas.microsoft.com/office/drawing/2014/main" id="{9EFBEDBE-C1AF-5843-C168-0AC571738EFE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0" y="0"/>
            <a:ext cx="4572000" cy="51435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vert="horz" wrap="square" lIns="0" tIns="0" rIns="0" bIns="0" spcCol="324000" rtlCol="0" anchor="ctr">
            <a:noAutofit/>
          </a:bodyPr>
          <a:lstStyle>
            <a:lvl1pPr marL="0" indent="0" algn="ctr">
              <a:spcAft>
                <a:spcPts val="0"/>
              </a:spcAft>
              <a:buNone/>
              <a:defRPr lang="en-US" dirty="0"/>
            </a:lvl1pPr>
          </a:lstStyle>
          <a:p>
            <a:pPr marL="0" lvl="0" indent="0" algn="ctr">
              <a:buNone/>
            </a:pPr>
            <a:r>
              <a:rPr lang="en-US" noProof="0" dirty="0"/>
              <a:t>Click icon to insert your photo OR</a:t>
            </a:r>
            <a:br>
              <a:rPr lang="en-US" noProof="0" dirty="0"/>
            </a:br>
            <a:r>
              <a:rPr lang="en-US" noProof="0" dirty="0"/>
              <a:t>select one from PAL through Templafy </a:t>
            </a: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Then, use “Crop” to recenter and resize</a:t>
            </a:r>
            <a:br>
              <a:rPr lang="en-US" noProof="0" dirty="0"/>
            </a:br>
            <a:r>
              <a:rPr lang="en-US" noProof="0" dirty="0"/>
              <a:t>your image if your subject appears off-center</a:t>
            </a:r>
          </a:p>
        </p:txBody>
      </p:sp>
    </p:spTree>
    <p:extLst>
      <p:ext uri="{BB962C8B-B14F-4D97-AF65-F5344CB8AC3E}">
        <p14:creationId xmlns:p14="http://schemas.microsoft.com/office/powerpoint/2010/main" val="40432782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 xmlns:a16="http://schemas.microsoft.com/office/drawing/2014/main">
      <p:transition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- light blue (with image)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ooter Placeholder 2">
            <a:extLst>
              <a:ext uri="{FF2B5EF4-FFF2-40B4-BE49-F238E27FC236}">
                <a16:creationId xmlns:a16="http://schemas.microsoft.com/office/drawing/2014/main" id="{A879EF11-C66F-25CE-5EFB-6055ED7EC2F4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>
          <a:xfrm>
            <a:off x="5074920" y="4928616"/>
            <a:ext cx="914400" cy="9144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A3DAD8C3-A9EB-9986-F97F-413372422AE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74920" y="2212851"/>
            <a:ext cx="3179496" cy="719137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300"/>
              </a:spcAft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Light blue divider, </a:t>
            </a:r>
            <a:br>
              <a:rPr lang="en-US" dirty="0"/>
            </a:br>
            <a:r>
              <a:rPr lang="en-US" dirty="0"/>
              <a:t>half photo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1C264C-A8C8-C508-F1B9-3B467123058B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>
          <a:xfrm>
            <a:off x="182123" y="4928616"/>
            <a:ext cx="199973" cy="91440"/>
          </a:xfrm>
          <a:prstGeom prst="rect">
            <a:avLst/>
          </a:prstGeom>
        </p:spPr>
        <p:txBody>
          <a:bodyPr/>
          <a:lstStyle/>
          <a:p>
            <a:fld id="{A5163908-529D-4A49-892F-D37C4044DFD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Picture Placeholder 4">
            <a:extLst>
              <a:ext uri="{FF2B5EF4-FFF2-40B4-BE49-F238E27FC236}">
                <a16:creationId xmlns:a16="http://schemas.microsoft.com/office/drawing/2014/main" id="{7BE110ED-2D7D-D774-0B80-3F90D3F4E9AF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0" y="0"/>
            <a:ext cx="4572000" cy="51435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vert="horz" wrap="square" lIns="0" tIns="0" rIns="0" bIns="0" spcCol="324000" rtlCol="0" anchor="ctr">
            <a:noAutofit/>
          </a:bodyPr>
          <a:lstStyle>
            <a:lvl1pPr marL="0" indent="0" algn="ctr">
              <a:spcAft>
                <a:spcPts val="0"/>
              </a:spcAft>
              <a:buNone/>
              <a:defRPr lang="en-US" dirty="0"/>
            </a:lvl1pPr>
          </a:lstStyle>
          <a:p>
            <a:pPr marL="0" lvl="0" indent="0" algn="ctr">
              <a:buNone/>
            </a:pPr>
            <a:r>
              <a:rPr lang="en-US" noProof="0" dirty="0"/>
              <a:t>Click icon to insert your photo OR</a:t>
            </a:r>
            <a:br>
              <a:rPr lang="en-US" noProof="0" dirty="0"/>
            </a:br>
            <a:r>
              <a:rPr lang="en-US" noProof="0" dirty="0"/>
              <a:t>select one from PAL through Templafy </a:t>
            </a: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Then, use “Crop” to recenter and resize</a:t>
            </a:r>
            <a:br>
              <a:rPr lang="en-US" noProof="0" dirty="0"/>
            </a:br>
            <a:r>
              <a:rPr lang="en-US" noProof="0" dirty="0"/>
              <a:t>your image if your subject appears off-center</a:t>
            </a:r>
          </a:p>
        </p:txBody>
      </p:sp>
    </p:spTree>
    <p:extLst>
      <p:ext uri="{BB962C8B-B14F-4D97-AF65-F5344CB8AC3E}">
        <p14:creationId xmlns:p14="http://schemas.microsoft.com/office/powerpoint/2010/main" val="34493670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 xmlns:a16="http://schemas.microsoft.com/office/drawing/2014/main">
      <p:transition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ark blue (with image)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4">
            <a:extLst>
              <a:ext uri="{FF2B5EF4-FFF2-40B4-BE49-F238E27FC236}">
                <a16:creationId xmlns:a16="http://schemas.microsoft.com/office/drawing/2014/main" id="{6483C4F6-50E7-6E1E-D4D2-96582662F314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 userDrawn="1"/>
        </p:nvSpPr>
        <p:spPr>
          <a:xfrm>
            <a:off x="6319125" y="4928616"/>
            <a:ext cx="1620000" cy="91440"/>
          </a:xfrm>
          <a:prstGeom prst="rect">
            <a:avLst/>
          </a:prstGeom>
        </p:spPr>
        <p:txBody>
          <a:bodyPr vert="horz" lIns="0" tIns="0" rIns="0" bIns="0" rtlCol="0" anchor="t"/>
          <a:lstStyle>
            <a:defPPr>
              <a:defRPr lang="en-US"/>
            </a:defPPr>
            <a:lvl1pPr lvl="0">
              <a:defRPr sz="600" b="0" i="0">
                <a:cs typeface="Calibri Light" panose="020F0302020204030204" pitchFamily="34" charset="0"/>
              </a:defRPr>
            </a:lvl1pPr>
            <a:lvl2pPr marL="457140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78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17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55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69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834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97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11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600" dirty="0">
                <a:solidFill>
                  <a:schemeClr val="bg1"/>
                </a:solidFill>
                <a:latin typeface="+mj-lt"/>
              </a:rPr>
              <a:t>© 2024 Koninklijke Philips N.V. All rights reserved.</a:t>
            </a:r>
          </a:p>
        </p:txBody>
      </p:sp>
      <p:sp>
        <p:nvSpPr>
          <p:cNvPr id="8" name="Footer Placeholder 2">
            <a:extLst>
              <a:ext uri="{FF2B5EF4-FFF2-40B4-BE49-F238E27FC236}">
                <a16:creationId xmlns:a16="http://schemas.microsoft.com/office/drawing/2014/main" id="{E6C58F87-A9BA-2FA1-B97C-0698020B5152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>
          <a:xfrm>
            <a:off x="5074920" y="4928616"/>
            <a:ext cx="914400" cy="9144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672425AB-1C29-0373-FC31-D4FB7C71223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73431" y="2212183"/>
            <a:ext cx="3179496" cy="719137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30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ark blue divider, </a:t>
            </a:r>
            <a:br>
              <a:rPr lang="en-US" dirty="0"/>
            </a:br>
            <a:r>
              <a:rPr lang="en-US" dirty="0"/>
              <a:t>half photo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588B69E-8B5D-DA78-AE44-FB6C6BDE89EB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>
          <a:xfrm>
            <a:off x="182123" y="4928616"/>
            <a:ext cx="199973" cy="9144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fld id="{A5163908-529D-4A49-892F-D37C4044DFD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E1BEA3FF-6101-A89B-8F65-C421806231BA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0" y="0"/>
            <a:ext cx="4572000" cy="51435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vert="horz" wrap="square" lIns="0" tIns="0" rIns="0" bIns="0" spcCol="324000" rtlCol="0" anchor="ctr">
            <a:noAutofit/>
          </a:bodyPr>
          <a:lstStyle>
            <a:lvl1pPr marL="0" indent="0" algn="ctr">
              <a:spcAft>
                <a:spcPts val="0"/>
              </a:spcAft>
              <a:buNone/>
              <a:defRPr lang="en-US" dirty="0"/>
            </a:lvl1pPr>
          </a:lstStyle>
          <a:p>
            <a:pPr marL="0" lvl="0" indent="0" algn="ctr">
              <a:buNone/>
            </a:pPr>
            <a:r>
              <a:rPr lang="en-US" noProof="0" dirty="0"/>
              <a:t>Click icon to insert your photo OR</a:t>
            </a:r>
            <a:br>
              <a:rPr lang="en-US" noProof="0" dirty="0"/>
            </a:br>
            <a:r>
              <a:rPr lang="en-US" noProof="0" dirty="0"/>
              <a:t>select one from PAL through Templafy </a:t>
            </a: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Then, use “Crop” to recenter and resize</a:t>
            </a:r>
            <a:br>
              <a:rPr lang="en-US" noProof="0" dirty="0"/>
            </a:br>
            <a:r>
              <a:rPr lang="en-US" noProof="0" dirty="0"/>
              <a:t>your image if your subject appears off-center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06E3089D-E461-0C57-2084-1F72CD158BFD}"/>
              </a:ext>
            </a:extLst>
          </p:cNvPr>
          <p:cNvPicPr>
            <a:picLocks noGrp="1" noRot="1" noMove="1" noResize="1" noEditPoints="1" noAdjustHandles="1" noChangeArrowheads="1" noChangeShapeType="1" noCrop="1"/>
          </p:cNvPicPr>
          <p:nvPr userDrawn="1"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268931" y="4887110"/>
            <a:ext cx="649224" cy="1182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313522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 xmlns:a16="http://schemas.microsoft.com/office/drawing/2014/main" xmlns:a14="http://schemas.microsoft.com/office/drawing/2010/main">
      <p:transition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blu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4">
            <a:extLst>
              <a:ext uri="{FF2B5EF4-FFF2-40B4-BE49-F238E27FC236}">
                <a16:creationId xmlns:a16="http://schemas.microsoft.com/office/drawing/2014/main" id="{0F0D7CB1-AD3C-2852-787D-8D22425C381F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 userDrawn="1"/>
        </p:nvSpPr>
        <p:spPr>
          <a:xfrm>
            <a:off x="6319125" y="4928616"/>
            <a:ext cx="1620000" cy="91440"/>
          </a:xfrm>
          <a:prstGeom prst="rect">
            <a:avLst/>
          </a:prstGeom>
        </p:spPr>
        <p:txBody>
          <a:bodyPr vert="horz" lIns="0" tIns="0" rIns="0" bIns="0" rtlCol="0" anchor="t"/>
          <a:lstStyle>
            <a:defPPr>
              <a:defRPr lang="en-US"/>
            </a:defPPr>
            <a:lvl1pPr lvl="0">
              <a:defRPr sz="600" b="0" i="0">
                <a:cs typeface="Calibri Light" panose="020F0302020204030204" pitchFamily="34" charset="0"/>
              </a:defRPr>
            </a:lvl1pPr>
            <a:lvl2pPr marL="457140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78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17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55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69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834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97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11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600" dirty="0">
                <a:solidFill>
                  <a:schemeClr val="bg1"/>
                </a:solidFill>
                <a:latin typeface="+mj-lt"/>
              </a:rPr>
              <a:t>© 2024 Koninklijke Philips N.V. All rights reserved.</a:t>
            </a:r>
          </a:p>
        </p:txBody>
      </p:sp>
      <p:sp>
        <p:nvSpPr>
          <p:cNvPr id="6" name="Footer Placeholder 1">
            <a:extLst>
              <a:ext uri="{FF2B5EF4-FFF2-40B4-BE49-F238E27FC236}">
                <a16:creationId xmlns:a16="http://schemas.microsoft.com/office/drawing/2014/main" id="{0ADC6353-6048-E03A-3D77-9D075ACD8B7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02919" y="4928616"/>
            <a:ext cx="5486400" cy="9144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8" name="Slide Number Placeholder 6">
            <a:extLst>
              <a:ext uri="{FF2B5EF4-FFF2-40B4-BE49-F238E27FC236}">
                <a16:creationId xmlns:a16="http://schemas.microsoft.com/office/drawing/2014/main" id="{C52B2FB9-5F5F-3AD4-6FA3-4B103FDE22E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182123" y="4928616"/>
            <a:ext cx="199973" cy="9144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5163908-529D-4A49-892F-D37C4044DFD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Title 2">
            <a:extLst>
              <a:ext uri="{FF2B5EF4-FFF2-40B4-BE49-F238E27FC236}">
                <a16:creationId xmlns:a16="http://schemas.microsoft.com/office/drawing/2014/main" id="{16469C53-2653-5C06-7E2F-CD7D6BC91B9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2918" y="1648421"/>
            <a:ext cx="8138161" cy="1846659"/>
          </a:xfrm>
          <a:prstGeom prst="rect">
            <a:avLst/>
          </a:prstGeom>
        </p:spPr>
        <p:txBody>
          <a:bodyPr tIns="0" bIns="0" anchor="ctr"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Philips blue divider</a:t>
            </a:r>
            <a:endParaRPr lang="en-GB" dirty="0"/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C609342E-45EF-3B14-6398-69B80ECAAF0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02920" y="376239"/>
            <a:ext cx="4069080" cy="18288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1">
                <a:solidFill>
                  <a:srgbClr val="BDF0FF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Optional header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6A385F6C-EE6D-ED6D-18D0-4DE79C3908D5}"/>
              </a:ext>
            </a:extLst>
          </p:cNvPr>
          <p:cNvPicPr>
            <a:picLocks noGrp="1" noRot="1" noMove="1" noResize="1" noEditPoints="1" noAdjustHandles="1" noChangeArrowheads="1" noChangeShapeType="1" noCrop="1"/>
          </p:cNvPicPr>
          <p:nvPr userDrawn="1"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268931" y="4887110"/>
            <a:ext cx="649224" cy="1182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273105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 xmlns:a16="http://schemas.microsoft.com/office/drawing/2014/main" xmlns:a14="http://schemas.microsoft.com/office/drawing/2010/main">
      <p:transition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-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B5C5660C-87D6-8991-CE76-9D054AAB9A5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02919" y="4928616"/>
            <a:ext cx="5486400" cy="9144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4D63F8B-8A74-0E87-A158-F18F0F9C68A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182123" y="4928616"/>
            <a:ext cx="199973" cy="91440"/>
          </a:xfrm>
          <a:prstGeom prst="rect">
            <a:avLst/>
          </a:prstGeom>
        </p:spPr>
        <p:txBody>
          <a:bodyPr/>
          <a:lstStyle/>
          <a:p>
            <a:fld id="{A5163908-529D-4A49-892F-D37C4044DFD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Title 2">
            <a:extLst>
              <a:ext uri="{FF2B5EF4-FFF2-40B4-BE49-F238E27FC236}">
                <a16:creationId xmlns:a16="http://schemas.microsoft.com/office/drawing/2014/main" id="{770153C2-9411-C295-333A-E234FF87BD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2919" y="1648421"/>
            <a:ext cx="8138160" cy="1846659"/>
          </a:xfrm>
          <a:prstGeom prst="rect">
            <a:avLst/>
          </a:prstGeom>
        </p:spPr>
        <p:txBody>
          <a:bodyPr tIns="0" bIns="0" anchor="ctr">
            <a:noAutofit/>
          </a:bodyPr>
          <a:lstStyle>
            <a:lvl1pPr>
              <a:defRPr sz="3600">
                <a:solidFill>
                  <a:srgbClr val="00126E"/>
                </a:solidFill>
              </a:defRPr>
            </a:lvl1pPr>
          </a:lstStyle>
          <a:p>
            <a:r>
              <a:rPr lang="en-US" dirty="0"/>
              <a:t>White divider</a:t>
            </a:r>
            <a:endParaRPr lang="en-GB" dirty="0"/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3C5F79E5-E3CC-0F06-D2F0-AB9CC0AE2CF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02920" y="376239"/>
            <a:ext cx="4069080" cy="18288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1">
                <a:solidFill>
                  <a:srgbClr val="0B5ED7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Optional header</a:t>
            </a:r>
          </a:p>
        </p:txBody>
      </p:sp>
    </p:spTree>
    <p:extLst>
      <p:ext uri="{BB962C8B-B14F-4D97-AF65-F5344CB8AC3E}">
        <p14:creationId xmlns:p14="http://schemas.microsoft.com/office/powerpoint/2010/main" val="26934320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 xmlns:a16="http://schemas.microsoft.com/office/drawing/2014/main">
      <p:transition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- light blu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59B31952-E4A5-D9E8-C52F-5D29A7BC41F4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02919" y="4928616"/>
            <a:ext cx="5486400" cy="91440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E8E28A7-BDB3-7FE2-2275-6C094A1DF33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182123" y="4928616"/>
            <a:ext cx="199973" cy="91440"/>
          </a:xfrm>
          <a:prstGeom prst="rect">
            <a:avLst/>
          </a:prstGeom>
        </p:spPr>
        <p:txBody>
          <a:bodyPr/>
          <a:lstStyle/>
          <a:p>
            <a:fld id="{A5163908-529D-4A49-892F-D37C4044DFD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Title 2">
            <a:extLst>
              <a:ext uri="{FF2B5EF4-FFF2-40B4-BE49-F238E27FC236}">
                <a16:creationId xmlns:a16="http://schemas.microsoft.com/office/drawing/2014/main" id="{5170887A-6431-1399-F5E5-FA3AD3099BA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2919" y="1648421"/>
            <a:ext cx="8138160" cy="1846659"/>
          </a:xfrm>
          <a:prstGeom prst="rect">
            <a:avLst/>
          </a:prstGeom>
        </p:spPr>
        <p:txBody>
          <a:bodyPr tIns="0" bIns="0" anchor="ctr">
            <a:noAutofit/>
          </a:bodyPr>
          <a:lstStyle>
            <a:lvl1pPr>
              <a:defRPr sz="3600">
                <a:solidFill>
                  <a:srgbClr val="00126E"/>
                </a:solidFill>
              </a:defRPr>
            </a:lvl1pPr>
          </a:lstStyle>
          <a:p>
            <a:r>
              <a:rPr lang="en-US" dirty="0"/>
              <a:t>Light blue divider</a:t>
            </a:r>
            <a:endParaRPr lang="en-GB" dirty="0"/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9239A8D7-86F6-5F8F-60A8-D347B9F18D4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02920" y="376239"/>
            <a:ext cx="4069080" cy="18288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1">
                <a:solidFill>
                  <a:srgbClr val="0B5ED7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Optional header</a:t>
            </a:r>
          </a:p>
        </p:txBody>
      </p:sp>
    </p:spTree>
    <p:extLst>
      <p:ext uri="{BB962C8B-B14F-4D97-AF65-F5344CB8AC3E}">
        <p14:creationId xmlns:p14="http://schemas.microsoft.com/office/powerpoint/2010/main" val="11710928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 xmlns:a16="http://schemas.microsoft.com/office/drawing/2014/main">
      <p:transition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ark blu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0F4BC162-EBC9-AD4C-50FB-5AE54CFC382D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 userDrawn="1"/>
        </p:nvSpPr>
        <p:spPr>
          <a:xfrm>
            <a:off x="6319125" y="4928616"/>
            <a:ext cx="1620000" cy="91440"/>
          </a:xfrm>
          <a:prstGeom prst="rect">
            <a:avLst/>
          </a:prstGeom>
        </p:spPr>
        <p:txBody>
          <a:bodyPr vert="horz" lIns="0" tIns="0" rIns="0" bIns="0" rtlCol="0" anchor="t"/>
          <a:lstStyle>
            <a:defPPr>
              <a:defRPr lang="en-US"/>
            </a:defPPr>
            <a:lvl1pPr lvl="0">
              <a:defRPr sz="600" b="0" i="0">
                <a:cs typeface="Calibri Light" panose="020F0302020204030204" pitchFamily="34" charset="0"/>
              </a:defRPr>
            </a:lvl1pPr>
            <a:lvl2pPr marL="457140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78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17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55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69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834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97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11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600" dirty="0">
                <a:solidFill>
                  <a:schemeClr val="bg1"/>
                </a:solidFill>
                <a:latin typeface="+mj-lt"/>
              </a:rPr>
              <a:t>© 2024 Koninklijke Philips N.V. All rights reserved.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1302E108-9147-4964-1570-DD151056425A}"/>
              </a:ext>
            </a:extLst>
          </p:cNvPr>
          <p:cNvSpPr>
            <a:spLocks noGrp="1"/>
          </p:cNvSpPr>
          <p:nvPr userDrawn="1">
            <p:ph type="ftr" sz="quarter" idx="15"/>
          </p:nvPr>
        </p:nvSpPr>
        <p:spPr>
          <a:xfrm>
            <a:off x="502919" y="4928616"/>
            <a:ext cx="5486400" cy="9144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87ED613-E8BF-EF44-A246-98413FA79480}"/>
              </a:ext>
            </a:extLst>
          </p:cNvPr>
          <p:cNvSpPr>
            <a:spLocks noGrp="1"/>
          </p:cNvSpPr>
          <p:nvPr userDrawn="1">
            <p:ph type="sldNum" sz="quarter" idx="16"/>
          </p:nvPr>
        </p:nvSpPr>
        <p:spPr>
          <a:xfrm>
            <a:off x="182123" y="4928616"/>
            <a:ext cx="199973" cy="9144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5163908-529D-4A49-892F-D37C4044DFD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Title 2">
            <a:extLst>
              <a:ext uri="{FF2B5EF4-FFF2-40B4-BE49-F238E27FC236}">
                <a16:creationId xmlns:a16="http://schemas.microsoft.com/office/drawing/2014/main" id="{514E7F6E-2B69-4BF8-B520-1CCC3F36F20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2919" y="1648421"/>
            <a:ext cx="8138160" cy="1846659"/>
          </a:xfrm>
          <a:prstGeom prst="rect">
            <a:avLst/>
          </a:prstGeom>
        </p:spPr>
        <p:txBody>
          <a:bodyPr tIns="0" bIns="0" anchor="ctr"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ark blue divider</a:t>
            </a:r>
            <a:endParaRPr lang="en-GB" dirty="0"/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21A37B65-E4B8-71F7-A78F-77B2D4E42B2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02920" y="376239"/>
            <a:ext cx="4069080" cy="18288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1">
                <a:solidFill>
                  <a:srgbClr val="BDF0FF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Optional header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D7FA3403-DB36-5459-127B-003E16CD7F5B}"/>
              </a:ext>
            </a:extLst>
          </p:cNvPr>
          <p:cNvPicPr>
            <a:picLocks noGrp="1" noRot="1" noMove="1" noResize="1" noEditPoints="1" noAdjustHandles="1" noChangeArrowheads="1" noChangeShapeType="1" noCrop="1"/>
          </p:cNvPicPr>
          <p:nvPr userDrawn="1"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268931" y="4887110"/>
            <a:ext cx="649224" cy="1182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20208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 xmlns:a16="http://schemas.microsoft.com/office/drawing/2014/main" xmlns:a14="http://schemas.microsoft.com/office/drawing/2010/main">
      <p:transition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 - blu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4">
            <a:extLst>
              <a:ext uri="{FF2B5EF4-FFF2-40B4-BE49-F238E27FC236}">
                <a16:creationId xmlns:a16="http://schemas.microsoft.com/office/drawing/2014/main" id="{840DD0C7-5AF6-1A37-ECF9-CC16DE9DDC74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 userDrawn="1"/>
        </p:nvSpPr>
        <p:spPr>
          <a:xfrm>
            <a:off x="6319125" y="4928616"/>
            <a:ext cx="1620000" cy="91440"/>
          </a:xfrm>
          <a:prstGeom prst="rect">
            <a:avLst/>
          </a:prstGeom>
        </p:spPr>
        <p:txBody>
          <a:bodyPr vert="horz" lIns="0" tIns="0" rIns="0" bIns="0" rtlCol="0" anchor="t"/>
          <a:lstStyle>
            <a:defPPr>
              <a:defRPr lang="en-US"/>
            </a:defPPr>
            <a:lvl1pPr lvl="0">
              <a:defRPr sz="600" b="0" i="0">
                <a:cs typeface="Calibri Light" panose="020F0302020204030204" pitchFamily="34" charset="0"/>
              </a:defRPr>
            </a:lvl1pPr>
            <a:lvl2pPr marL="457140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78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17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55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69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834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97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11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600" dirty="0">
                <a:solidFill>
                  <a:schemeClr val="tx1"/>
                </a:solidFill>
                <a:latin typeface="+mj-lt"/>
              </a:rPr>
              <a:t>© 2024 Koninklijke Philips N.V. All rights reserved.</a:t>
            </a:r>
          </a:p>
        </p:txBody>
      </p:sp>
      <p:sp>
        <p:nvSpPr>
          <p:cNvPr id="8" name="Footer Placeholder 2">
            <a:extLst>
              <a:ext uri="{FF2B5EF4-FFF2-40B4-BE49-F238E27FC236}">
                <a16:creationId xmlns:a16="http://schemas.microsoft.com/office/drawing/2014/main" id="{E5BC41EF-EEE9-1B6E-5F31-3E428C7719F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502919" y="4928616"/>
            <a:ext cx="5486400" cy="91440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D0D815C2-849B-D7BD-0DB7-A36C1FA4B70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82123" y="4928616"/>
            <a:ext cx="199973" cy="9144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5163908-529D-4A49-892F-D37C4044DFD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F36F285E-21D8-7DCC-C09A-8638AEC14F1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3238" y="374904"/>
            <a:ext cx="8138160" cy="719137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ype your slide headline here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B923826F-0E15-8317-5ABF-92322521F277}"/>
              </a:ext>
            </a:extLst>
          </p:cNvPr>
          <p:cNvPicPr>
            <a:picLocks noGrp="1" noRot="1" noMove="1" noResize="1" noEditPoints="1" noAdjustHandles="1" noChangeArrowheads="1" noChangeShapeType="1" noCrop="1"/>
          </p:cNvPicPr>
          <p:nvPr userDrawn="1"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268931" y="4887110"/>
            <a:ext cx="649224" cy="1182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9950008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 xmlns:a16="http://schemas.microsoft.com/office/drawing/2014/main" xmlns:a14="http://schemas.microsoft.com/office/drawing/2010/main">
      <p:transition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white (vertical logo)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8B67DB58-F737-AC10-CC1C-15DBD6E977B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white">
          <a:xfrm>
            <a:off x="502921" y="4466069"/>
            <a:ext cx="4297680" cy="182880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200" b="0">
                <a:solidFill>
                  <a:srgbClr val="0B5ED7"/>
                </a:solidFill>
              </a:defRPr>
            </a:lvl1pPr>
          </a:lstStyle>
          <a:p>
            <a:pPr lvl="0"/>
            <a:r>
              <a:rPr lang="en-US" noProof="0" dirty="0"/>
              <a:t>Date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878A8BD4-EC83-5206-5C7B-605BC11D3AB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white">
          <a:xfrm>
            <a:off x="502921" y="4276855"/>
            <a:ext cx="4297680" cy="182880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200" b="0">
                <a:solidFill>
                  <a:srgbClr val="0B5ED7"/>
                </a:solidFill>
              </a:defRPr>
            </a:lvl1pPr>
          </a:lstStyle>
          <a:p>
            <a:pPr lvl="0"/>
            <a:r>
              <a:rPr lang="en-US" noProof="0" dirty="0"/>
              <a:t>Title and Business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C6B5CCBC-2A7F-98C5-9D8E-0D0149E666C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white">
          <a:xfrm>
            <a:off x="502921" y="4087641"/>
            <a:ext cx="4297680" cy="182880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200" b="1">
                <a:solidFill>
                  <a:srgbClr val="0B5ED7"/>
                </a:solidFill>
              </a:defRPr>
            </a:lvl1pPr>
          </a:lstStyle>
          <a:p>
            <a:pPr lvl="0"/>
            <a:r>
              <a:rPr lang="en-US" noProof="0" dirty="0"/>
              <a:t>Author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5A803C9-3B4E-EB3B-6029-7BDE0488355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02920" y="2057400"/>
            <a:ext cx="6035040" cy="1207008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3200">
                <a:solidFill>
                  <a:srgbClr val="0B5ED7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Presentation tit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4F43539-EB41-4C14-53EF-2935F6D07E4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02920" y="1764792"/>
            <a:ext cx="6035040" cy="18288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1">
                <a:solidFill>
                  <a:srgbClr val="0B5ED7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Optional header</a:t>
            </a:r>
          </a:p>
        </p:txBody>
      </p:sp>
      <p:pic>
        <p:nvPicPr>
          <p:cNvPr id="14" name="Picture 13" descr="A blue and black logo&#10;&#10;Description automatically generated">
            <a:extLst>
              <a:ext uri="{FF2B5EF4-FFF2-40B4-BE49-F238E27FC236}">
                <a16:creationId xmlns:a16="http://schemas.microsoft.com/office/drawing/2014/main" id="{84AA1B72-4063-89DB-D076-1E2338DCA056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27277" y="283122"/>
            <a:ext cx="841742" cy="4579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2566134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 xmlns:a16="http://schemas.microsoft.com/office/drawing/2014/main" xmlns:a14="http://schemas.microsoft.com/office/drawing/2010/main">
      <p:transition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E2F1EC1-2658-C047-B1BA-7D4E1C0429B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502919" y="4928616"/>
            <a:ext cx="5486400" cy="91440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6E53026-A825-4528-4CF3-B5A96810111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82123" y="4928616"/>
            <a:ext cx="199973" cy="91440"/>
          </a:xfrm>
          <a:prstGeom prst="rect">
            <a:avLst/>
          </a:prstGeom>
        </p:spPr>
        <p:txBody>
          <a:bodyPr/>
          <a:lstStyle/>
          <a:p>
            <a:fld id="{A5163908-529D-4A49-892F-D37C4044DFD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35B2A843-3D74-BE80-F9C6-089029FBBC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2920" y="376241"/>
            <a:ext cx="8138160" cy="719137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Type your slide headline here</a:t>
            </a:r>
          </a:p>
        </p:txBody>
      </p:sp>
    </p:spTree>
    <p:extLst>
      <p:ext uri="{BB962C8B-B14F-4D97-AF65-F5344CB8AC3E}">
        <p14:creationId xmlns:p14="http://schemas.microsoft.com/office/powerpoint/2010/main" val="36654004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 xmlns:a16="http://schemas.microsoft.com/office/drawing/2014/main" xmlns:p15="http://schemas.microsoft.com/office/powerpoint/2012/main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- light blu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0970542-4FDB-B324-ECE0-DE3F5DFAF17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3DCCC7D-4FA5-392C-1757-004F3007C80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5163908-529D-4A49-892F-D37C4044DFD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32D381BB-CD2F-C7BC-1AFA-2073F1739D4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3238" y="376241"/>
            <a:ext cx="8138160" cy="719137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Type your slide headline here</a:t>
            </a:r>
          </a:p>
        </p:txBody>
      </p:sp>
    </p:spTree>
    <p:extLst>
      <p:ext uri="{BB962C8B-B14F-4D97-AF65-F5344CB8AC3E}">
        <p14:creationId xmlns:p14="http://schemas.microsoft.com/office/powerpoint/2010/main" val="15371423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 xmlns:a16="http://schemas.microsoft.com/office/drawing/2014/main">
      <p:transition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 - dark blu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4">
            <a:extLst>
              <a:ext uri="{FF2B5EF4-FFF2-40B4-BE49-F238E27FC236}">
                <a16:creationId xmlns:a16="http://schemas.microsoft.com/office/drawing/2014/main" id="{F101F003-E183-0112-A786-7AA9F6D0DE19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 userDrawn="1"/>
        </p:nvSpPr>
        <p:spPr>
          <a:xfrm>
            <a:off x="6319125" y="4928616"/>
            <a:ext cx="1620000" cy="91440"/>
          </a:xfrm>
          <a:prstGeom prst="rect">
            <a:avLst/>
          </a:prstGeom>
        </p:spPr>
        <p:txBody>
          <a:bodyPr vert="horz" lIns="0" tIns="0" rIns="0" bIns="0" rtlCol="0" anchor="t"/>
          <a:lstStyle>
            <a:defPPr>
              <a:defRPr lang="en-US"/>
            </a:defPPr>
            <a:lvl1pPr lvl="0">
              <a:defRPr sz="600" b="0" i="0">
                <a:cs typeface="Calibri Light" panose="020F0302020204030204" pitchFamily="34" charset="0"/>
              </a:defRPr>
            </a:lvl1pPr>
            <a:lvl2pPr marL="457140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78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17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55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69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834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97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11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600" dirty="0">
                <a:solidFill>
                  <a:schemeClr val="tx1"/>
                </a:solidFill>
                <a:latin typeface="+mj-lt"/>
              </a:rPr>
              <a:t>© 2024 Koninklijke Philips N.V. All rights reserved.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EAB06B5-4F14-55FD-A5A0-3ED51EB4969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02919" y="4928616"/>
            <a:ext cx="5486400" cy="91440"/>
          </a:xfrm>
          <a:prstGeom prst="rect">
            <a:avLst/>
          </a:prstGeom>
        </p:spPr>
        <p:txBody>
          <a:bodyPr/>
          <a:lstStyle/>
          <a:p>
            <a:endParaRPr lang="en-US" noProof="0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E0D042B-CFFA-A2E0-2A91-CEF83AE1AC4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82123" y="4928616"/>
            <a:ext cx="199973" cy="9144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5163908-529D-4A49-892F-D37C4044DFD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A68A8DF2-CDA7-D81B-B404-AB351FB689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3238" y="376241"/>
            <a:ext cx="8138160" cy="719137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ype your slide headline here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F8076A43-B32F-C6BC-95CF-AF3D220BC566}"/>
              </a:ext>
            </a:extLst>
          </p:cNvPr>
          <p:cNvPicPr>
            <a:picLocks noGrp="1" noRot="1" noMove="1" noResize="1" noEditPoints="1" noAdjustHandles="1" noChangeArrowheads="1" noChangeShapeType="1" noCrop="1"/>
          </p:cNvPicPr>
          <p:nvPr userDrawn="1"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268931" y="4887110"/>
            <a:ext cx="649224" cy="1182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8934391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 xmlns:a16="http://schemas.microsoft.com/office/drawing/2014/main" xmlns:a14="http://schemas.microsoft.com/office/drawing/2010/main">
      <p:transition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D47832D1-2CB0-EF47-87AC-2268BFA1D60B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>
          <a:xfrm>
            <a:off x="502919" y="4928616"/>
            <a:ext cx="5486400" cy="9144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F0675C8B-9184-054B-B7F8-DF9237D45D9F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>
          <a:xfrm>
            <a:off x="182123" y="4928616"/>
            <a:ext cx="199973" cy="9144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fld id="{A5163908-529D-4A49-892F-D37C4044DFD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581C77D-DDC8-3024-919F-538FECE1E64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00062" y="1211263"/>
            <a:ext cx="8138160" cy="3484800"/>
          </a:xfrm>
          <a:prstGeom prst="rect">
            <a:avLst/>
          </a:prstGeom>
        </p:spPr>
        <p:txBody>
          <a:bodyPr/>
          <a:lstStyle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2" name="Title 7">
            <a:extLst>
              <a:ext uri="{FF2B5EF4-FFF2-40B4-BE49-F238E27FC236}">
                <a16:creationId xmlns:a16="http://schemas.microsoft.com/office/drawing/2014/main" id="{17A39C56-76E5-6D8E-D2AE-E974200C177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4053" y="376241"/>
            <a:ext cx="8138160" cy="719137"/>
          </a:xfrm>
          <a:prstGeom prst="rect">
            <a:avLst/>
          </a:prstGeom>
        </p:spPr>
        <p:txBody>
          <a:bodyPr lIns="0" tIns="0" rIns="0" bIns="0"/>
          <a:lstStyle>
            <a:lvl1pPr>
              <a:defRPr sz="240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 dirty="0"/>
              <a:t>Type your slide headline her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6683445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 xmlns:a16="http://schemas.microsoft.com/office/drawing/2014/main">
      <p:transition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D47832D1-2CB0-EF47-87AC-2268BFA1D60B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>
          <a:xfrm>
            <a:off x="502919" y="4928616"/>
            <a:ext cx="5486400" cy="9144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F0675C8B-9184-054B-B7F8-DF9237D45D9F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>
          <a:xfrm>
            <a:off x="182123" y="4928616"/>
            <a:ext cx="199973" cy="9144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fld id="{A5163908-529D-4A49-892F-D37C4044DFD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DF116B89-87B5-8107-A5CD-141BB7422566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820333" y="1211263"/>
            <a:ext cx="3823606" cy="34848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3B6E554A-6B73-15E4-3764-C5F8C8ADA4F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00063" y="1211263"/>
            <a:ext cx="3823606" cy="34848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3" name="Title 7">
            <a:extLst>
              <a:ext uri="{FF2B5EF4-FFF2-40B4-BE49-F238E27FC236}">
                <a16:creationId xmlns:a16="http://schemas.microsoft.com/office/drawing/2014/main" id="{2AED31B2-8BB2-E9B2-06B3-96133C2A7C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4053" y="376241"/>
            <a:ext cx="8138160" cy="719137"/>
          </a:xfrm>
          <a:prstGeom prst="rect">
            <a:avLst/>
          </a:prstGeom>
        </p:spPr>
        <p:txBody>
          <a:bodyPr lIns="0" tIns="0" rIns="0" bIns="0"/>
          <a:lstStyle>
            <a:lvl1pPr>
              <a:defRPr sz="240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 dirty="0"/>
              <a:t>Type your slide headline her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3210976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 xmlns:a16="http://schemas.microsoft.com/office/drawing/2014/main">
      <p:transition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D47832D1-2CB0-EF47-87AC-2268BFA1D60B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>
          <a:xfrm>
            <a:off x="502919" y="4928616"/>
            <a:ext cx="5486400" cy="9144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F0675C8B-9184-054B-B7F8-DF9237D45D9F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>
          <a:xfrm>
            <a:off x="182123" y="4928616"/>
            <a:ext cx="199973" cy="9144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fld id="{A5163908-529D-4A49-892F-D37C4044DFD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4C1EB096-CDA0-FBC3-ACB0-B46F4AC10AA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262611" y="1211263"/>
            <a:ext cx="2379602" cy="34848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C3E0B99A-29EB-A6B9-09B7-861A3D1249FC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377488" y="1211263"/>
            <a:ext cx="2379602" cy="34848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8AA75FF5-94F5-C44C-32B7-5EC624735A9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00063" y="1211263"/>
            <a:ext cx="2379602" cy="34848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3" name="Title 7">
            <a:extLst>
              <a:ext uri="{FF2B5EF4-FFF2-40B4-BE49-F238E27FC236}">
                <a16:creationId xmlns:a16="http://schemas.microsoft.com/office/drawing/2014/main" id="{4967F1C9-9964-32B9-28CE-CDB0035173C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4053" y="376241"/>
            <a:ext cx="8138160" cy="719137"/>
          </a:xfrm>
          <a:prstGeom prst="rect">
            <a:avLst/>
          </a:prstGeom>
        </p:spPr>
        <p:txBody>
          <a:bodyPr lIns="0" tIns="0" rIns="0" bIns="0"/>
          <a:lstStyle>
            <a:lvl1pPr>
              <a:defRPr sz="240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 dirty="0"/>
              <a:t>Type your slide headline her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4111690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 xmlns:a16="http://schemas.microsoft.com/office/drawing/2014/main">
      <p:transition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mall - ima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6">
            <a:extLst>
              <a:ext uri="{FF2B5EF4-FFF2-40B4-BE49-F238E27FC236}">
                <a16:creationId xmlns:a16="http://schemas.microsoft.com/office/drawing/2014/main" id="{65D507BA-0817-31A1-44FE-891B1C7FA173}"/>
              </a:ext>
            </a:extLst>
          </p:cNvPr>
          <p:cNvSpPr>
            <a:spLocks noGrp="1"/>
          </p:cNvSpPr>
          <p:nvPr>
            <p:ph type="pic" sz="quarter" idx="28" hasCustomPrompt="1"/>
          </p:nvPr>
        </p:nvSpPr>
        <p:spPr>
          <a:xfrm>
            <a:off x="3253180" y="0"/>
            <a:ext cx="5888736" cy="5143500"/>
          </a:xfrm>
          <a:custGeom>
            <a:avLst/>
            <a:gdLst>
              <a:gd name="connsiteX0" fmla="*/ 5609750 w 5890820"/>
              <a:gd name="connsiteY0" fmla="*/ 4918662 h 5143500"/>
              <a:gd name="connsiteX1" fmla="*/ 5609757 w 5890820"/>
              <a:gd name="connsiteY1" fmla="*/ 4918670 h 5143500"/>
              <a:gd name="connsiteX2" fmla="*/ 5609750 w 5890820"/>
              <a:gd name="connsiteY2" fmla="*/ 4918680 h 5143500"/>
              <a:gd name="connsiteX3" fmla="*/ 5504702 w 5890820"/>
              <a:gd name="connsiteY3" fmla="*/ 4908682 h 5143500"/>
              <a:gd name="connsiteX4" fmla="*/ 5530011 w 5890820"/>
              <a:gd name="connsiteY4" fmla="*/ 4931060 h 5143500"/>
              <a:gd name="connsiteX5" fmla="*/ 5504702 w 5890820"/>
              <a:gd name="connsiteY5" fmla="*/ 4955819 h 5143500"/>
              <a:gd name="connsiteX6" fmla="*/ 5498970 w 5890820"/>
              <a:gd name="connsiteY6" fmla="*/ 4955819 h 5143500"/>
              <a:gd name="connsiteX7" fmla="*/ 5498970 w 5890820"/>
              <a:gd name="connsiteY7" fmla="*/ 4908800 h 5143500"/>
              <a:gd name="connsiteX8" fmla="*/ 5504702 w 5890820"/>
              <a:gd name="connsiteY8" fmla="*/ 4908682 h 5143500"/>
              <a:gd name="connsiteX9" fmla="*/ 5056334 w 5890820"/>
              <a:gd name="connsiteY9" fmla="*/ 4908682 h 5143500"/>
              <a:gd name="connsiteX10" fmla="*/ 5081644 w 5890820"/>
              <a:gd name="connsiteY10" fmla="*/ 4931060 h 5143500"/>
              <a:gd name="connsiteX11" fmla="*/ 5056334 w 5890820"/>
              <a:gd name="connsiteY11" fmla="*/ 4955819 h 5143500"/>
              <a:gd name="connsiteX12" fmla="*/ 5050602 w 5890820"/>
              <a:gd name="connsiteY12" fmla="*/ 4955819 h 5143500"/>
              <a:gd name="connsiteX13" fmla="*/ 5050602 w 5890820"/>
              <a:gd name="connsiteY13" fmla="*/ 4908800 h 5143500"/>
              <a:gd name="connsiteX14" fmla="*/ 5056334 w 5890820"/>
              <a:gd name="connsiteY14" fmla="*/ 4908682 h 5143500"/>
              <a:gd name="connsiteX15" fmla="*/ 5402996 w 5890820"/>
              <a:gd name="connsiteY15" fmla="*/ 4889642 h 5143500"/>
              <a:gd name="connsiteX16" fmla="*/ 5402996 w 5890820"/>
              <a:gd name="connsiteY16" fmla="*/ 5003422 h 5143500"/>
              <a:gd name="connsiteX17" fmla="*/ 5437856 w 5890820"/>
              <a:gd name="connsiteY17" fmla="*/ 5003422 h 5143500"/>
              <a:gd name="connsiteX18" fmla="*/ 5437856 w 5890820"/>
              <a:gd name="connsiteY18" fmla="*/ 4889642 h 5143500"/>
              <a:gd name="connsiteX19" fmla="*/ 5322296 w 5890820"/>
              <a:gd name="connsiteY19" fmla="*/ 4889642 h 5143500"/>
              <a:gd name="connsiteX20" fmla="*/ 5322296 w 5890820"/>
              <a:gd name="connsiteY20" fmla="*/ 5003422 h 5143500"/>
              <a:gd name="connsiteX21" fmla="*/ 5385323 w 5890820"/>
              <a:gd name="connsiteY21" fmla="*/ 5003422 h 5143500"/>
              <a:gd name="connsiteX22" fmla="*/ 5390579 w 5890820"/>
              <a:gd name="connsiteY22" fmla="*/ 4980570 h 5143500"/>
              <a:gd name="connsiteX23" fmla="*/ 5357157 w 5890820"/>
              <a:gd name="connsiteY23" fmla="*/ 4980570 h 5143500"/>
              <a:gd name="connsiteX24" fmla="*/ 5357157 w 5890820"/>
              <a:gd name="connsiteY24" fmla="*/ 4889642 h 5143500"/>
              <a:gd name="connsiteX25" fmla="*/ 5261659 w 5890820"/>
              <a:gd name="connsiteY25" fmla="*/ 4889642 h 5143500"/>
              <a:gd name="connsiteX26" fmla="*/ 5261659 w 5890820"/>
              <a:gd name="connsiteY26" fmla="*/ 5003422 h 5143500"/>
              <a:gd name="connsiteX27" fmla="*/ 5296520 w 5890820"/>
              <a:gd name="connsiteY27" fmla="*/ 5003422 h 5143500"/>
              <a:gd name="connsiteX28" fmla="*/ 5296520 w 5890820"/>
              <a:gd name="connsiteY28" fmla="*/ 4889642 h 5143500"/>
              <a:gd name="connsiteX29" fmla="*/ 5129864 w 5890820"/>
              <a:gd name="connsiteY29" fmla="*/ 4889642 h 5143500"/>
              <a:gd name="connsiteX30" fmla="*/ 5129864 w 5890820"/>
              <a:gd name="connsiteY30" fmla="*/ 5003422 h 5143500"/>
              <a:gd name="connsiteX31" fmla="*/ 5164725 w 5890820"/>
              <a:gd name="connsiteY31" fmla="*/ 5003422 h 5143500"/>
              <a:gd name="connsiteX32" fmla="*/ 5164725 w 5890820"/>
              <a:gd name="connsiteY32" fmla="*/ 4958675 h 5143500"/>
              <a:gd name="connsiteX33" fmla="*/ 5201013 w 5890820"/>
              <a:gd name="connsiteY33" fmla="*/ 4958675 h 5143500"/>
              <a:gd name="connsiteX34" fmla="*/ 5201013 w 5890820"/>
              <a:gd name="connsiteY34" fmla="*/ 5003422 h 5143500"/>
              <a:gd name="connsiteX35" fmla="*/ 5235874 w 5890820"/>
              <a:gd name="connsiteY35" fmla="*/ 5003422 h 5143500"/>
              <a:gd name="connsiteX36" fmla="*/ 5235874 w 5890820"/>
              <a:gd name="connsiteY36" fmla="*/ 4889642 h 5143500"/>
              <a:gd name="connsiteX37" fmla="*/ 5201013 w 5890820"/>
              <a:gd name="connsiteY37" fmla="*/ 4889642 h 5143500"/>
              <a:gd name="connsiteX38" fmla="*/ 5201013 w 5890820"/>
              <a:gd name="connsiteY38" fmla="*/ 4934873 h 5143500"/>
              <a:gd name="connsiteX39" fmla="*/ 5164725 w 5890820"/>
              <a:gd name="connsiteY39" fmla="*/ 4934873 h 5143500"/>
              <a:gd name="connsiteX40" fmla="*/ 5164725 w 5890820"/>
              <a:gd name="connsiteY40" fmla="*/ 4889642 h 5143500"/>
              <a:gd name="connsiteX41" fmla="*/ 5506606 w 5890820"/>
              <a:gd name="connsiteY41" fmla="*/ 4887261 h 5143500"/>
              <a:gd name="connsiteX42" fmla="*/ 5464109 w 5890820"/>
              <a:gd name="connsiteY42" fmla="*/ 4889642 h 5143500"/>
              <a:gd name="connsiteX43" fmla="*/ 5464109 w 5890820"/>
              <a:gd name="connsiteY43" fmla="*/ 5003422 h 5143500"/>
              <a:gd name="connsiteX44" fmla="*/ 5498970 w 5890820"/>
              <a:gd name="connsiteY44" fmla="*/ 5003422 h 5143500"/>
              <a:gd name="connsiteX45" fmla="*/ 5498970 w 5890820"/>
              <a:gd name="connsiteY45" fmla="*/ 4976282 h 5143500"/>
              <a:gd name="connsiteX46" fmla="*/ 5511386 w 5890820"/>
              <a:gd name="connsiteY46" fmla="*/ 4976282 h 5143500"/>
              <a:gd name="connsiteX47" fmla="*/ 5511386 w 5890820"/>
              <a:gd name="connsiteY47" fmla="*/ 4976291 h 5143500"/>
              <a:gd name="connsiteX48" fmla="*/ 5564387 w 5890820"/>
              <a:gd name="connsiteY48" fmla="*/ 4930586 h 5143500"/>
              <a:gd name="connsiteX49" fmla="*/ 5506606 w 5890820"/>
              <a:gd name="connsiteY49" fmla="*/ 4887261 h 5143500"/>
              <a:gd name="connsiteX50" fmla="*/ 5058248 w 5890820"/>
              <a:gd name="connsiteY50" fmla="*/ 4887261 h 5143500"/>
              <a:gd name="connsiteX51" fmla="*/ 5015751 w 5890820"/>
              <a:gd name="connsiteY51" fmla="*/ 4889642 h 5143500"/>
              <a:gd name="connsiteX52" fmla="*/ 5015751 w 5890820"/>
              <a:gd name="connsiteY52" fmla="*/ 5003422 h 5143500"/>
              <a:gd name="connsiteX53" fmla="*/ 5050611 w 5890820"/>
              <a:gd name="connsiteY53" fmla="*/ 5003422 h 5143500"/>
              <a:gd name="connsiteX54" fmla="*/ 5050611 w 5890820"/>
              <a:gd name="connsiteY54" fmla="*/ 4976282 h 5143500"/>
              <a:gd name="connsiteX55" fmla="*/ 5063028 w 5890820"/>
              <a:gd name="connsiteY55" fmla="*/ 4976282 h 5143500"/>
              <a:gd name="connsiteX56" fmla="*/ 5063019 w 5890820"/>
              <a:gd name="connsiteY56" fmla="*/ 4976291 h 5143500"/>
              <a:gd name="connsiteX57" fmla="*/ 5116019 w 5890820"/>
              <a:gd name="connsiteY57" fmla="*/ 4930586 h 5143500"/>
              <a:gd name="connsiteX58" fmla="*/ 5058248 w 5890820"/>
              <a:gd name="connsiteY58" fmla="*/ 4887261 h 5143500"/>
              <a:gd name="connsiteX59" fmla="*/ 5622157 w 5890820"/>
              <a:gd name="connsiteY59" fmla="*/ 4887252 h 5143500"/>
              <a:gd name="connsiteX60" fmla="*/ 5574889 w 5890820"/>
              <a:gd name="connsiteY60" fmla="*/ 4921527 h 5143500"/>
              <a:gd name="connsiteX61" fmla="*/ 5629327 w 5890820"/>
              <a:gd name="connsiteY61" fmla="*/ 4971994 h 5143500"/>
              <a:gd name="connsiteX62" fmla="*/ 5611187 w 5890820"/>
              <a:gd name="connsiteY62" fmla="*/ 4982942 h 5143500"/>
              <a:gd name="connsiteX63" fmla="*/ 5571556 w 5890820"/>
              <a:gd name="connsiteY63" fmla="*/ 4973892 h 5143500"/>
              <a:gd name="connsiteX64" fmla="*/ 5575375 w 5890820"/>
              <a:gd name="connsiteY64" fmla="*/ 5000074 h 5143500"/>
              <a:gd name="connsiteX65" fmla="*/ 5611664 w 5890820"/>
              <a:gd name="connsiteY65" fmla="*/ 5005785 h 5143500"/>
              <a:gd name="connsiteX66" fmla="*/ 5664664 w 5890820"/>
              <a:gd name="connsiteY66" fmla="*/ 4967697 h 5143500"/>
              <a:gd name="connsiteX67" fmla="*/ 5618330 w 5890820"/>
              <a:gd name="connsiteY67" fmla="*/ 4928600 h 5143500"/>
              <a:gd name="connsiteX68" fmla="*/ 5609757 w 5890820"/>
              <a:gd name="connsiteY68" fmla="*/ 4918670 h 5143500"/>
              <a:gd name="connsiteX69" fmla="*/ 5614107 w 5890820"/>
              <a:gd name="connsiteY69" fmla="*/ 4911836 h 5143500"/>
              <a:gd name="connsiteX70" fmla="*/ 5625985 w 5890820"/>
              <a:gd name="connsiteY70" fmla="*/ 4909630 h 5143500"/>
              <a:gd name="connsiteX71" fmla="*/ 5657018 w 5890820"/>
              <a:gd name="connsiteY71" fmla="*/ 4915341 h 5143500"/>
              <a:gd name="connsiteX72" fmla="*/ 5654152 w 5890820"/>
              <a:gd name="connsiteY72" fmla="*/ 4890582 h 5143500"/>
              <a:gd name="connsiteX73" fmla="*/ 5622157 w 5890820"/>
              <a:gd name="connsiteY73" fmla="*/ 4887252 h 5143500"/>
              <a:gd name="connsiteX74" fmla="*/ 0 w 5890820"/>
              <a:gd name="connsiteY74" fmla="*/ 0 h 5143500"/>
              <a:gd name="connsiteX75" fmla="*/ 5890820 w 5890820"/>
              <a:gd name="connsiteY75" fmla="*/ 0 h 5143500"/>
              <a:gd name="connsiteX76" fmla="*/ 5890820 w 5890820"/>
              <a:gd name="connsiteY76" fmla="*/ 5143500 h 5143500"/>
              <a:gd name="connsiteX77" fmla="*/ 0 w 5890820"/>
              <a:gd name="connsiteY77" fmla="*/ 5143500 h 5143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</a:cxnLst>
            <a:rect l="l" t="t" r="r" b="b"/>
            <a:pathLst>
              <a:path w="5890820" h="5143500">
                <a:moveTo>
                  <a:pt x="5609750" y="4918662"/>
                </a:moveTo>
                <a:lnTo>
                  <a:pt x="5609757" y="4918670"/>
                </a:lnTo>
                <a:lnTo>
                  <a:pt x="5609750" y="4918680"/>
                </a:lnTo>
                <a:close/>
                <a:moveTo>
                  <a:pt x="5504702" y="4908682"/>
                </a:moveTo>
                <a:cubicBezTo>
                  <a:pt x="5521889" y="4908682"/>
                  <a:pt x="5530011" y="4916774"/>
                  <a:pt x="5530011" y="4931060"/>
                </a:cubicBezTo>
                <a:cubicBezTo>
                  <a:pt x="5530011" y="4945821"/>
                  <a:pt x="5522851" y="4955819"/>
                  <a:pt x="5504702" y="4955819"/>
                </a:cubicBezTo>
                <a:lnTo>
                  <a:pt x="5498970" y="4955819"/>
                </a:lnTo>
                <a:lnTo>
                  <a:pt x="5498970" y="4908800"/>
                </a:lnTo>
                <a:cubicBezTo>
                  <a:pt x="5500993" y="4908682"/>
                  <a:pt x="5502907" y="4908682"/>
                  <a:pt x="5504702" y="4908682"/>
                </a:cubicBezTo>
                <a:close/>
                <a:moveTo>
                  <a:pt x="5056334" y="4908682"/>
                </a:moveTo>
                <a:cubicBezTo>
                  <a:pt x="5073522" y="4908682"/>
                  <a:pt x="5081644" y="4916774"/>
                  <a:pt x="5081644" y="4931060"/>
                </a:cubicBezTo>
                <a:cubicBezTo>
                  <a:pt x="5081644" y="4945821"/>
                  <a:pt x="5074483" y="4955819"/>
                  <a:pt x="5056334" y="4955819"/>
                </a:cubicBezTo>
                <a:lnTo>
                  <a:pt x="5050602" y="4955819"/>
                </a:lnTo>
                <a:lnTo>
                  <a:pt x="5050602" y="4908800"/>
                </a:lnTo>
                <a:cubicBezTo>
                  <a:pt x="5052635" y="4908682"/>
                  <a:pt x="5054540" y="4908682"/>
                  <a:pt x="5056334" y="4908682"/>
                </a:cubicBezTo>
                <a:close/>
                <a:moveTo>
                  <a:pt x="5402996" y="4889642"/>
                </a:moveTo>
                <a:lnTo>
                  <a:pt x="5402996" y="5003422"/>
                </a:lnTo>
                <a:lnTo>
                  <a:pt x="5437856" y="5003422"/>
                </a:lnTo>
                <a:lnTo>
                  <a:pt x="5437856" y="4889642"/>
                </a:lnTo>
                <a:close/>
                <a:moveTo>
                  <a:pt x="5322296" y="4889642"/>
                </a:moveTo>
                <a:lnTo>
                  <a:pt x="5322296" y="5003422"/>
                </a:lnTo>
                <a:lnTo>
                  <a:pt x="5385323" y="5003422"/>
                </a:lnTo>
                <a:lnTo>
                  <a:pt x="5390579" y="4980570"/>
                </a:lnTo>
                <a:lnTo>
                  <a:pt x="5357157" y="4980570"/>
                </a:lnTo>
                <a:lnTo>
                  <a:pt x="5357157" y="4889642"/>
                </a:lnTo>
                <a:close/>
                <a:moveTo>
                  <a:pt x="5261659" y="4889642"/>
                </a:moveTo>
                <a:lnTo>
                  <a:pt x="5261659" y="5003422"/>
                </a:lnTo>
                <a:lnTo>
                  <a:pt x="5296520" y="5003422"/>
                </a:lnTo>
                <a:lnTo>
                  <a:pt x="5296520" y="4889642"/>
                </a:lnTo>
                <a:close/>
                <a:moveTo>
                  <a:pt x="5129864" y="4889642"/>
                </a:moveTo>
                <a:lnTo>
                  <a:pt x="5129864" y="5003422"/>
                </a:lnTo>
                <a:lnTo>
                  <a:pt x="5164725" y="5003422"/>
                </a:lnTo>
                <a:lnTo>
                  <a:pt x="5164725" y="4958675"/>
                </a:lnTo>
                <a:lnTo>
                  <a:pt x="5201013" y="4958675"/>
                </a:lnTo>
                <a:lnTo>
                  <a:pt x="5201013" y="5003422"/>
                </a:lnTo>
                <a:lnTo>
                  <a:pt x="5235874" y="5003422"/>
                </a:lnTo>
                <a:lnTo>
                  <a:pt x="5235874" y="4889642"/>
                </a:lnTo>
                <a:lnTo>
                  <a:pt x="5201013" y="4889642"/>
                </a:lnTo>
                <a:lnTo>
                  <a:pt x="5201013" y="4934873"/>
                </a:lnTo>
                <a:lnTo>
                  <a:pt x="5164725" y="4934873"/>
                </a:lnTo>
                <a:lnTo>
                  <a:pt x="5164725" y="4889642"/>
                </a:lnTo>
                <a:close/>
                <a:moveTo>
                  <a:pt x="5506606" y="4887261"/>
                </a:moveTo>
                <a:cubicBezTo>
                  <a:pt x="5492761" y="4887261"/>
                  <a:pt x="5476050" y="4888210"/>
                  <a:pt x="5464109" y="4889642"/>
                </a:cubicBezTo>
                <a:lnTo>
                  <a:pt x="5464109" y="5003422"/>
                </a:lnTo>
                <a:lnTo>
                  <a:pt x="5498970" y="5003422"/>
                </a:lnTo>
                <a:lnTo>
                  <a:pt x="5498970" y="4976282"/>
                </a:lnTo>
                <a:lnTo>
                  <a:pt x="5511386" y="4976282"/>
                </a:lnTo>
                <a:lnTo>
                  <a:pt x="5511386" y="4976291"/>
                </a:lnTo>
                <a:cubicBezTo>
                  <a:pt x="5543857" y="4976291"/>
                  <a:pt x="5564387" y="4959633"/>
                  <a:pt x="5564387" y="4930586"/>
                </a:cubicBezTo>
                <a:cubicBezTo>
                  <a:pt x="5564387" y="4898692"/>
                  <a:pt x="5542419" y="4887261"/>
                  <a:pt x="5506606" y="4887261"/>
                </a:cubicBezTo>
                <a:close/>
                <a:moveTo>
                  <a:pt x="5058248" y="4887261"/>
                </a:moveTo>
                <a:cubicBezTo>
                  <a:pt x="5044403" y="4887261"/>
                  <a:pt x="5027692" y="4888210"/>
                  <a:pt x="5015751" y="4889642"/>
                </a:cubicBezTo>
                <a:lnTo>
                  <a:pt x="5015751" y="5003422"/>
                </a:lnTo>
                <a:lnTo>
                  <a:pt x="5050611" y="5003422"/>
                </a:lnTo>
                <a:lnTo>
                  <a:pt x="5050611" y="4976282"/>
                </a:lnTo>
                <a:lnTo>
                  <a:pt x="5063028" y="4976282"/>
                </a:lnTo>
                <a:lnTo>
                  <a:pt x="5063019" y="4976291"/>
                </a:lnTo>
                <a:cubicBezTo>
                  <a:pt x="5095489" y="4976291"/>
                  <a:pt x="5116019" y="4959633"/>
                  <a:pt x="5116019" y="4930586"/>
                </a:cubicBezTo>
                <a:cubicBezTo>
                  <a:pt x="5116028" y="4898683"/>
                  <a:pt x="5094061" y="4887261"/>
                  <a:pt x="5058248" y="4887261"/>
                </a:cubicBezTo>
                <a:close/>
                <a:moveTo>
                  <a:pt x="5622157" y="4887252"/>
                </a:moveTo>
                <a:cubicBezTo>
                  <a:pt x="5593982" y="4887252"/>
                  <a:pt x="5574889" y="4898318"/>
                  <a:pt x="5574889" y="4921527"/>
                </a:cubicBezTo>
                <a:cubicBezTo>
                  <a:pt x="5574889" y="4961521"/>
                  <a:pt x="5629327" y="4953429"/>
                  <a:pt x="5629327" y="4971994"/>
                </a:cubicBezTo>
                <a:cubicBezTo>
                  <a:pt x="5629327" y="4979137"/>
                  <a:pt x="5624071" y="4982942"/>
                  <a:pt x="5611187" y="4982942"/>
                </a:cubicBezTo>
                <a:cubicBezTo>
                  <a:pt x="5599723" y="4982942"/>
                  <a:pt x="5582059" y="4979137"/>
                  <a:pt x="5571556" y="4973892"/>
                </a:cubicBezTo>
                <a:lnTo>
                  <a:pt x="5575375" y="5000074"/>
                </a:lnTo>
                <a:cubicBezTo>
                  <a:pt x="5585878" y="5003888"/>
                  <a:pt x="5600208" y="5005785"/>
                  <a:pt x="5611664" y="5005785"/>
                </a:cubicBezTo>
                <a:cubicBezTo>
                  <a:pt x="5640792" y="5005785"/>
                  <a:pt x="5664664" y="4996261"/>
                  <a:pt x="5664664" y="4967697"/>
                </a:cubicBezTo>
                <a:cubicBezTo>
                  <a:pt x="5664664" y="4939131"/>
                  <a:pt x="5633775" y="4936008"/>
                  <a:pt x="5618330" y="4928600"/>
                </a:cubicBezTo>
                <a:lnTo>
                  <a:pt x="5609757" y="4918670"/>
                </a:lnTo>
                <a:lnTo>
                  <a:pt x="5614107" y="4911836"/>
                </a:lnTo>
                <a:cubicBezTo>
                  <a:pt x="5616913" y="4910346"/>
                  <a:pt x="5620972" y="4909630"/>
                  <a:pt x="5625985" y="4909630"/>
                </a:cubicBezTo>
                <a:cubicBezTo>
                  <a:pt x="5636964" y="4909630"/>
                  <a:pt x="5648905" y="4912011"/>
                  <a:pt x="5657018" y="4915341"/>
                </a:cubicBezTo>
                <a:lnTo>
                  <a:pt x="5654152" y="4890582"/>
                </a:lnTo>
                <a:cubicBezTo>
                  <a:pt x="5645077" y="4888675"/>
                  <a:pt x="5636964" y="4887252"/>
                  <a:pt x="5622157" y="4887252"/>
                </a:cubicBezTo>
                <a:close/>
                <a:moveTo>
                  <a:pt x="0" y="0"/>
                </a:moveTo>
                <a:lnTo>
                  <a:pt x="5890820" y="0"/>
                </a:lnTo>
                <a:lnTo>
                  <a:pt x="5890820" y="5143500"/>
                </a:lnTo>
                <a:lnTo>
                  <a:pt x="0" y="514350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vert="horz" wrap="square" lIns="0" tIns="0" rIns="0" bIns="0" spcCol="324000" rtlCol="0" anchor="ctr">
            <a:noAutofit/>
          </a:bodyPr>
          <a:lstStyle>
            <a:lvl1pPr marL="0" indent="0" algn="ctr">
              <a:spcAft>
                <a:spcPts val="0"/>
              </a:spcAft>
              <a:buNone/>
              <a:defRPr lang="en-US" dirty="0"/>
            </a:lvl1pPr>
          </a:lstStyle>
          <a:p>
            <a:pPr marL="0" lvl="0" indent="0" algn="ctr">
              <a:buNone/>
            </a:pPr>
            <a:r>
              <a:rPr lang="en-US" noProof="0" dirty="0"/>
              <a:t>Click icon to insert your photo OR </a:t>
            </a:r>
            <a:br>
              <a:rPr lang="en-US" noProof="0" dirty="0"/>
            </a:br>
            <a:r>
              <a:rPr lang="en-US" noProof="0" dirty="0"/>
              <a:t>select one from PAL through Templafy </a:t>
            </a: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Then, use “Crop” to recenter and resize </a:t>
            </a:r>
            <a:br>
              <a:rPr lang="en-US" noProof="0" dirty="0"/>
            </a:br>
            <a:r>
              <a:rPr lang="en-US" noProof="0" dirty="0"/>
              <a:t>your image if your subject appears off-center</a:t>
            </a:r>
          </a:p>
        </p:txBody>
      </p:sp>
      <p:sp>
        <p:nvSpPr>
          <p:cNvPr id="5" name="Footer Placeholder 11">
            <a:extLst>
              <a:ext uri="{FF2B5EF4-FFF2-40B4-BE49-F238E27FC236}">
                <a16:creationId xmlns:a16="http://schemas.microsoft.com/office/drawing/2014/main" id="{39233B01-D8A4-FE06-9412-52107B278D8C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>
          <a:xfrm>
            <a:off x="502919" y="4928616"/>
            <a:ext cx="2377440" cy="91440"/>
          </a:xfrm>
          <a:prstGeom prst="rect">
            <a:avLst/>
          </a:prstGeom>
        </p:spPr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CE15C5B3-F137-C847-8AEF-B6EA3211AAAA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>
          <a:xfrm>
            <a:off x="182123" y="4928616"/>
            <a:ext cx="199973" cy="91440"/>
          </a:xfrm>
          <a:prstGeom prst="rect">
            <a:avLst/>
          </a:prstGeom>
        </p:spPr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fld id="{A5163908-529D-4A49-892F-D37C4044DFD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E2C26D52-4263-A84E-BE9C-E8B266F7A2A0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00063" y="1211263"/>
            <a:ext cx="2379602" cy="34848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D0DFB18B-FAF9-0022-13B7-568D8420461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2920" y="376242"/>
            <a:ext cx="2377440" cy="722376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chemeClr val="tx2"/>
                </a:solidFill>
              </a:defRPr>
            </a:lvl1pPr>
          </a:lstStyle>
          <a:p>
            <a:r>
              <a:rPr lang="en-US" noProof="0" dirty="0"/>
              <a:t>Type your slide headline here</a:t>
            </a:r>
          </a:p>
        </p:txBody>
      </p:sp>
    </p:spTree>
    <p:extLst>
      <p:ext uri="{BB962C8B-B14F-4D97-AF65-F5344CB8AC3E}">
        <p14:creationId xmlns:p14="http://schemas.microsoft.com/office/powerpoint/2010/main" val="40517816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 xmlns:a16="http://schemas.microsoft.com/office/drawing/2014/main">
      <p:transition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mall - ima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44F529D8-9C6F-58F5-0254-996E808C0934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262611" y="1211263"/>
            <a:ext cx="2379602" cy="34848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079F63E1-D3F3-F243-D730-F89C53934AB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60149" y="376242"/>
            <a:ext cx="2377440" cy="722376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chemeClr val="tx2"/>
                </a:solidFill>
              </a:defRPr>
            </a:lvl1pPr>
          </a:lstStyle>
          <a:p>
            <a:r>
              <a:rPr lang="en-US" noProof="0" dirty="0"/>
              <a:t>Type your slide headline here</a:t>
            </a:r>
          </a:p>
        </p:txBody>
      </p:sp>
      <p:sp>
        <p:nvSpPr>
          <p:cNvPr id="4" name="Footer Placeholder 11">
            <a:extLst>
              <a:ext uri="{FF2B5EF4-FFF2-40B4-BE49-F238E27FC236}">
                <a16:creationId xmlns:a16="http://schemas.microsoft.com/office/drawing/2014/main" id="{D019B56E-17F1-60C5-DE51-C73526AF218E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>
          <a:xfrm>
            <a:off x="502919" y="4928616"/>
            <a:ext cx="2377440" cy="9144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12">
            <a:extLst>
              <a:ext uri="{FF2B5EF4-FFF2-40B4-BE49-F238E27FC236}">
                <a16:creationId xmlns:a16="http://schemas.microsoft.com/office/drawing/2014/main" id="{CE15C5B3-F137-C847-8AEF-B6EA3211AAAA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>
          <a:xfrm>
            <a:off x="182123" y="4928616"/>
            <a:ext cx="199973" cy="9144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fld id="{A5163908-529D-4A49-892F-D37C4044DFD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Picture Placeholder 4">
            <a:extLst>
              <a:ext uri="{FF2B5EF4-FFF2-40B4-BE49-F238E27FC236}">
                <a16:creationId xmlns:a16="http://schemas.microsoft.com/office/drawing/2014/main" id="{3C5F3973-0A3E-BA0D-7446-25212BF944FF}"/>
              </a:ext>
            </a:extLst>
          </p:cNvPr>
          <p:cNvSpPr>
            <a:spLocks noGrp="1"/>
          </p:cNvSpPr>
          <p:nvPr>
            <p:ph type="pic" sz="quarter" idx="28" hasCustomPrompt="1"/>
          </p:nvPr>
        </p:nvSpPr>
        <p:spPr>
          <a:xfrm>
            <a:off x="0" y="0"/>
            <a:ext cx="5890820" cy="51435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vert="horz" wrap="square" lIns="0" tIns="0" rIns="0" bIns="0" spcCol="324000" rtlCol="0" anchor="ctr">
            <a:noAutofit/>
          </a:bodyPr>
          <a:lstStyle>
            <a:lvl1pPr marL="0" indent="0" algn="ctr">
              <a:spcAft>
                <a:spcPts val="0"/>
              </a:spcAft>
              <a:buNone/>
              <a:defRPr lang="en-US" dirty="0"/>
            </a:lvl1pPr>
          </a:lstStyle>
          <a:p>
            <a:pPr marL="0" lvl="0" indent="0" algn="ctr">
              <a:buNone/>
            </a:pPr>
            <a:r>
              <a:rPr lang="en-US" noProof="0" dirty="0"/>
              <a:t>Click icon to insert your photo OR </a:t>
            </a:r>
            <a:br>
              <a:rPr lang="en-US" noProof="0" dirty="0"/>
            </a:br>
            <a:r>
              <a:rPr lang="en-US" noProof="0" dirty="0"/>
              <a:t>select one from PAL through Templafy </a:t>
            </a: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Then, use “Crop” to recenter and resize </a:t>
            </a:r>
            <a:br>
              <a:rPr lang="en-US" noProof="0" dirty="0"/>
            </a:br>
            <a:r>
              <a:rPr lang="en-US" noProof="0" dirty="0"/>
              <a:t>your image if your subject appears off-center</a:t>
            </a:r>
          </a:p>
        </p:txBody>
      </p:sp>
    </p:spTree>
    <p:extLst>
      <p:ext uri="{BB962C8B-B14F-4D97-AF65-F5344CB8AC3E}">
        <p14:creationId xmlns:p14="http://schemas.microsoft.com/office/powerpoint/2010/main" val="21081030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 xmlns:a16="http://schemas.microsoft.com/office/drawing/2014/main">
      <p:transition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4">
            <a:extLst>
              <a:ext uri="{FF2B5EF4-FFF2-40B4-BE49-F238E27FC236}">
                <a16:creationId xmlns:a16="http://schemas.microsoft.com/office/drawing/2014/main" id="{D14F1EF4-283E-34CE-199C-D2F9ED23AAAD}"/>
              </a:ext>
            </a:extLst>
          </p:cNvPr>
          <p:cNvSpPr>
            <a:spLocks noGrp="1"/>
          </p:cNvSpPr>
          <p:nvPr>
            <p:ph type="pic" sz="quarter" idx="28" hasCustomPrompt="1"/>
          </p:nvPr>
        </p:nvSpPr>
        <p:spPr>
          <a:xfrm>
            <a:off x="0" y="0"/>
            <a:ext cx="9144000" cy="5143500"/>
          </a:xfrm>
          <a:custGeom>
            <a:avLst/>
            <a:gdLst>
              <a:gd name="connsiteX0" fmla="*/ 8862930 w 9144000"/>
              <a:gd name="connsiteY0" fmla="*/ 4918662 h 5143500"/>
              <a:gd name="connsiteX1" fmla="*/ 8862940 w 9144000"/>
              <a:gd name="connsiteY1" fmla="*/ 4918674 h 5143500"/>
              <a:gd name="connsiteX2" fmla="*/ 8862930 w 9144000"/>
              <a:gd name="connsiteY2" fmla="*/ 4918680 h 5143500"/>
              <a:gd name="connsiteX3" fmla="*/ 8757882 w 9144000"/>
              <a:gd name="connsiteY3" fmla="*/ 4908682 h 5143500"/>
              <a:gd name="connsiteX4" fmla="*/ 8783191 w 9144000"/>
              <a:gd name="connsiteY4" fmla="*/ 4931060 h 5143500"/>
              <a:gd name="connsiteX5" fmla="*/ 8757882 w 9144000"/>
              <a:gd name="connsiteY5" fmla="*/ 4955819 h 5143500"/>
              <a:gd name="connsiteX6" fmla="*/ 8752150 w 9144000"/>
              <a:gd name="connsiteY6" fmla="*/ 4955819 h 5143500"/>
              <a:gd name="connsiteX7" fmla="*/ 8752150 w 9144000"/>
              <a:gd name="connsiteY7" fmla="*/ 4908800 h 5143500"/>
              <a:gd name="connsiteX8" fmla="*/ 8757882 w 9144000"/>
              <a:gd name="connsiteY8" fmla="*/ 4908682 h 5143500"/>
              <a:gd name="connsiteX9" fmla="*/ 8309514 w 9144000"/>
              <a:gd name="connsiteY9" fmla="*/ 4908682 h 5143500"/>
              <a:gd name="connsiteX10" fmla="*/ 8334824 w 9144000"/>
              <a:gd name="connsiteY10" fmla="*/ 4931060 h 5143500"/>
              <a:gd name="connsiteX11" fmla="*/ 8309514 w 9144000"/>
              <a:gd name="connsiteY11" fmla="*/ 4955819 h 5143500"/>
              <a:gd name="connsiteX12" fmla="*/ 8303782 w 9144000"/>
              <a:gd name="connsiteY12" fmla="*/ 4955819 h 5143500"/>
              <a:gd name="connsiteX13" fmla="*/ 8303782 w 9144000"/>
              <a:gd name="connsiteY13" fmla="*/ 4908800 h 5143500"/>
              <a:gd name="connsiteX14" fmla="*/ 8309514 w 9144000"/>
              <a:gd name="connsiteY14" fmla="*/ 4908682 h 5143500"/>
              <a:gd name="connsiteX15" fmla="*/ 8656176 w 9144000"/>
              <a:gd name="connsiteY15" fmla="*/ 4889642 h 5143500"/>
              <a:gd name="connsiteX16" fmla="*/ 8656176 w 9144000"/>
              <a:gd name="connsiteY16" fmla="*/ 5003422 h 5143500"/>
              <a:gd name="connsiteX17" fmla="*/ 8691036 w 9144000"/>
              <a:gd name="connsiteY17" fmla="*/ 5003422 h 5143500"/>
              <a:gd name="connsiteX18" fmla="*/ 8691036 w 9144000"/>
              <a:gd name="connsiteY18" fmla="*/ 4889642 h 5143500"/>
              <a:gd name="connsiteX19" fmla="*/ 8575476 w 9144000"/>
              <a:gd name="connsiteY19" fmla="*/ 4889642 h 5143500"/>
              <a:gd name="connsiteX20" fmla="*/ 8575476 w 9144000"/>
              <a:gd name="connsiteY20" fmla="*/ 5003422 h 5143500"/>
              <a:gd name="connsiteX21" fmla="*/ 8638503 w 9144000"/>
              <a:gd name="connsiteY21" fmla="*/ 5003422 h 5143500"/>
              <a:gd name="connsiteX22" fmla="*/ 8643759 w 9144000"/>
              <a:gd name="connsiteY22" fmla="*/ 4980570 h 5143500"/>
              <a:gd name="connsiteX23" fmla="*/ 8610337 w 9144000"/>
              <a:gd name="connsiteY23" fmla="*/ 4980570 h 5143500"/>
              <a:gd name="connsiteX24" fmla="*/ 8610337 w 9144000"/>
              <a:gd name="connsiteY24" fmla="*/ 4889642 h 5143500"/>
              <a:gd name="connsiteX25" fmla="*/ 8514839 w 9144000"/>
              <a:gd name="connsiteY25" fmla="*/ 4889642 h 5143500"/>
              <a:gd name="connsiteX26" fmla="*/ 8514839 w 9144000"/>
              <a:gd name="connsiteY26" fmla="*/ 5003422 h 5143500"/>
              <a:gd name="connsiteX27" fmla="*/ 8549700 w 9144000"/>
              <a:gd name="connsiteY27" fmla="*/ 5003422 h 5143500"/>
              <a:gd name="connsiteX28" fmla="*/ 8549700 w 9144000"/>
              <a:gd name="connsiteY28" fmla="*/ 4889642 h 5143500"/>
              <a:gd name="connsiteX29" fmla="*/ 8383044 w 9144000"/>
              <a:gd name="connsiteY29" fmla="*/ 4889642 h 5143500"/>
              <a:gd name="connsiteX30" fmla="*/ 8383044 w 9144000"/>
              <a:gd name="connsiteY30" fmla="*/ 5003422 h 5143500"/>
              <a:gd name="connsiteX31" fmla="*/ 8417905 w 9144000"/>
              <a:gd name="connsiteY31" fmla="*/ 5003422 h 5143500"/>
              <a:gd name="connsiteX32" fmla="*/ 8417905 w 9144000"/>
              <a:gd name="connsiteY32" fmla="*/ 4958675 h 5143500"/>
              <a:gd name="connsiteX33" fmla="*/ 8454193 w 9144000"/>
              <a:gd name="connsiteY33" fmla="*/ 4958675 h 5143500"/>
              <a:gd name="connsiteX34" fmla="*/ 8454193 w 9144000"/>
              <a:gd name="connsiteY34" fmla="*/ 5003422 h 5143500"/>
              <a:gd name="connsiteX35" fmla="*/ 8489054 w 9144000"/>
              <a:gd name="connsiteY35" fmla="*/ 5003422 h 5143500"/>
              <a:gd name="connsiteX36" fmla="*/ 8489054 w 9144000"/>
              <a:gd name="connsiteY36" fmla="*/ 4889642 h 5143500"/>
              <a:gd name="connsiteX37" fmla="*/ 8454193 w 9144000"/>
              <a:gd name="connsiteY37" fmla="*/ 4889642 h 5143500"/>
              <a:gd name="connsiteX38" fmla="*/ 8454193 w 9144000"/>
              <a:gd name="connsiteY38" fmla="*/ 4934873 h 5143500"/>
              <a:gd name="connsiteX39" fmla="*/ 8417905 w 9144000"/>
              <a:gd name="connsiteY39" fmla="*/ 4934873 h 5143500"/>
              <a:gd name="connsiteX40" fmla="*/ 8417905 w 9144000"/>
              <a:gd name="connsiteY40" fmla="*/ 4889642 h 5143500"/>
              <a:gd name="connsiteX41" fmla="*/ 8759786 w 9144000"/>
              <a:gd name="connsiteY41" fmla="*/ 4887261 h 5143500"/>
              <a:gd name="connsiteX42" fmla="*/ 8717289 w 9144000"/>
              <a:gd name="connsiteY42" fmla="*/ 4889642 h 5143500"/>
              <a:gd name="connsiteX43" fmla="*/ 8717289 w 9144000"/>
              <a:gd name="connsiteY43" fmla="*/ 5003422 h 5143500"/>
              <a:gd name="connsiteX44" fmla="*/ 8752150 w 9144000"/>
              <a:gd name="connsiteY44" fmla="*/ 5003422 h 5143500"/>
              <a:gd name="connsiteX45" fmla="*/ 8752150 w 9144000"/>
              <a:gd name="connsiteY45" fmla="*/ 4976282 h 5143500"/>
              <a:gd name="connsiteX46" fmla="*/ 8764566 w 9144000"/>
              <a:gd name="connsiteY46" fmla="*/ 4976282 h 5143500"/>
              <a:gd name="connsiteX47" fmla="*/ 8764566 w 9144000"/>
              <a:gd name="connsiteY47" fmla="*/ 4976291 h 5143500"/>
              <a:gd name="connsiteX48" fmla="*/ 8817567 w 9144000"/>
              <a:gd name="connsiteY48" fmla="*/ 4930586 h 5143500"/>
              <a:gd name="connsiteX49" fmla="*/ 8759786 w 9144000"/>
              <a:gd name="connsiteY49" fmla="*/ 4887261 h 5143500"/>
              <a:gd name="connsiteX50" fmla="*/ 8311428 w 9144000"/>
              <a:gd name="connsiteY50" fmla="*/ 4887261 h 5143500"/>
              <a:gd name="connsiteX51" fmla="*/ 8268931 w 9144000"/>
              <a:gd name="connsiteY51" fmla="*/ 4889642 h 5143500"/>
              <a:gd name="connsiteX52" fmla="*/ 8268931 w 9144000"/>
              <a:gd name="connsiteY52" fmla="*/ 5003422 h 5143500"/>
              <a:gd name="connsiteX53" fmla="*/ 8303791 w 9144000"/>
              <a:gd name="connsiteY53" fmla="*/ 5003422 h 5143500"/>
              <a:gd name="connsiteX54" fmla="*/ 8303791 w 9144000"/>
              <a:gd name="connsiteY54" fmla="*/ 4976282 h 5143500"/>
              <a:gd name="connsiteX55" fmla="*/ 8316208 w 9144000"/>
              <a:gd name="connsiteY55" fmla="*/ 4976282 h 5143500"/>
              <a:gd name="connsiteX56" fmla="*/ 8316199 w 9144000"/>
              <a:gd name="connsiteY56" fmla="*/ 4976291 h 5143500"/>
              <a:gd name="connsiteX57" fmla="*/ 8369199 w 9144000"/>
              <a:gd name="connsiteY57" fmla="*/ 4930586 h 5143500"/>
              <a:gd name="connsiteX58" fmla="*/ 8311428 w 9144000"/>
              <a:gd name="connsiteY58" fmla="*/ 4887261 h 5143500"/>
              <a:gd name="connsiteX59" fmla="*/ 8875337 w 9144000"/>
              <a:gd name="connsiteY59" fmla="*/ 4887252 h 5143500"/>
              <a:gd name="connsiteX60" fmla="*/ 8828069 w 9144000"/>
              <a:gd name="connsiteY60" fmla="*/ 4921527 h 5143500"/>
              <a:gd name="connsiteX61" fmla="*/ 8882507 w 9144000"/>
              <a:gd name="connsiteY61" fmla="*/ 4971994 h 5143500"/>
              <a:gd name="connsiteX62" fmla="*/ 8864367 w 9144000"/>
              <a:gd name="connsiteY62" fmla="*/ 4982942 h 5143500"/>
              <a:gd name="connsiteX63" fmla="*/ 8824736 w 9144000"/>
              <a:gd name="connsiteY63" fmla="*/ 4973892 h 5143500"/>
              <a:gd name="connsiteX64" fmla="*/ 8828555 w 9144000"/>
              <a:gd name="connsiteY64" fmla="*/ 5000074 h 5143500"/>
              <a:gd name="connsiteX65" fmla="*/ 8864844 w 9144000"/>
              <a:gd name="connsiteY65" fmla="*/ 5005785 h 5143500"/>
              <a:gd name="connsiteX66" fmla="*/ 8917844 w 9144000"/>
              <a:gd name="connsiteY66" fmla="*/ 4967697 h 5143500"/>
              <a:gd name="connsiteX67" fmla="*/ 8871510 w 9144000"/>
              <a:gd name="connsiteY67" fmla="*/ 4928600 h 5143500"/>
              <a:gd name="connsiteX68" fmla="*/ 8862940 w 9144000"/>
              <a:gd name="connsiteY68" fmla="*/ 4918674 h 5143500"/>
              <a:gd name="connsiteX69" fmla="*/ 8879165 w 9144000"/>
              <a:gd name="connsiteY69" fmla="*/ 4909630 h 5143500"/>
              <a:gd name="connsiteX70" fmla="*/ 8910198 w 9144000"/>
              <a:gd name="connsiteY70" fmla="*/ 4915341 h 5143500"/>
              <a:gd name="connsiteX71" fmla="*/ 8907332 w 9144000"/>
              <a:gd name="connsiteY71" fmla="*/ 4890582 h 5143500"/>
              <a:gd name="connsiteX72" fmla="*/ 8875337 w 9144000"/>
              <a:gd name="connsiteY72" fmla="*/ 4887252 h 5143500"/>
              <a:gd name="connsiteX73" fmla="*/ 0 w 9144000"/>
              <a:gd name="connsiteY73" fmla="*/ 0 h 5143500"/>
              <a:gd name="connsiteX74" fmla="*/ 9144000 w 9144000"/>
              <a:gd name="connsiteY74" fmla="*/ 0 h 5143500"/>
              <a:gd name="connsiteX75" fmla="*/ 9144000 w 9144000"/>
              <a:gd name="connsiteY75" fmla="*/ 5143500 h 5143500"/>
              <a:gd name="connsiteX76" fmla="*/ 0 w 9144000"/>
              <a:gd name="connsiteY76" fmla="*/ 5143500 h 5143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</a:cxnLst>
            <a:rect l="l" t="t" r="r" b="b"/>
            <a:pathLst>
              <a:path w="9144000" h="5143500">
                <a:moveTo>
                  <a:pt x="8862930" y="4918662"/>
                </a:moveTo>
                <a:lnTo>
                  <a:pt x="8862940" y="4918674"/>
                </a:lnTo>
                <a:lnTo>
                  <a:pt x="8862930" y="4918680"/>
                </a:lnTo>
                <a:close/>
                <a:moveTo>
                  <a:pt x="8757882" y="4908682"/>
                </a:moveTo>
                <a:cubicBezTo>
                  <a:pt x="8775069" y="4908682"/>
                  <a:pt x="8783191" y="4916774"/>
                  <a:pt x="8783191" y="4931060"/>
                </a:cubicBezTo>
                <a:cubicBezTo>
                  <a:pt x="8783191" y="4945821"/>
                  <a:pt x="8776031" y="4955819"/>
                  <a:pt x="8757882" y="4955819"/>
                </a:cubicBezTo>
                <a:lnTo>
                  <a:pt x="8752150" y="4955819"/>
                </a:lnTo>
                <a:lnTo>
                  <a:pt x="8752150" y="4908800"/>
                </a:lnTo>
                <a:cubicBezTo>
                  <a:pt x="8754173" y="4908682"/>
                  <a:pt x="8756087" y="4908682"/>
                  <a:pt x="8757882" y="4908682"/>
                </a:cubicBezTo>
                <a:close/>
                <a:moveTo>
                  <a:pt x="8309514" y="4908682"/>
                </a:moveTo>
                <a:cubicBezTo>
                  <a:pt x="8326702" y="4908682"/>
                  <a:pt x="8334824" y="4916774"/>
                  <a:pt x="8334824" y="4931060"/>
                </a:cubicBezTo>
                <a:cubicBezTo>
                  <a:pt x="8334824" y="4945821"/>
                  <a:pt x="8327663" y="4955819"/>
                  <a:pt x="8309514" y="4955819"/>
                </a:cubicBezTo>
                <a:lnTo>
                  <a:pt x="8303782" y="4955819"/>
                </a:lnTo>
                <a:lnTo>
                  <a:pt x="8303782" y="4908800"/>
                </a:lnTo>
                <a:cubicBezTo>
                  <a:pt x="8305815" y="4908682"/>
                  <a:pt x="8307720" y="4908682"/>
                  <a:pt x="8309514" y="4908682"/>
                </a:cubicBezTo>
                <a:close/>
                <a:moveTo>
                  <a:pt x="8656176" y="4889642"/>
                </a:moveTo>
                <a:lnTo>
                  <a:pt x="8656176" y="5003422"/>
                </a:lnTo>
                <a:lnTo>
                  <a:pt x="8691036" y="5003422"/>
                </a:lnTo>
                <a:lnTo>
                  <a:pt x="8691036" y="4889642"/>
                </a:lnTo>
                <a:close/>
                <a:moveTo>
                  <a:pt x="8575476" y="4889642"/>
                </a:moveTo>
                <a:lnTo>
                  <a:pt x="8575476" y="5003422"/>
                </a:lnTo>
                <a:lnTo>
                  <a:pt x="8638503" y="5003422"/>
                </a:lnTo>
                <a:lnTo>
                  <a:pt x="8643759" y="4980570"/>
                </a:lnTo>
                <a:lnTo>
                  <a:pt x="8610337" y="4980570"/>
                </a:lnTo>
                <a:lnTo>
                  <a:pt x="8610337" y="4889642"/>
                </a:lnTo>
                <a:close/>
                <a:moveTo>
                  <a:pt x="8514839" y="4889642"/>
                </a:moveTo>
                <a:lnTo>
                  <a:pt x="8514839" y="5003422"/>
                </a:lnTo>
                <a:lnTo>
                  <a:pt x="8549700" y="5003422"/>
                </a:lnTo>
                <a:lnTo>
                  <a:pt x="8549700" y="4889642"/>
                </a:lnTo>
                <a:close/>
                <a:moveTo>
                  <a:pt x="8383044" y="4889642"/>
                </a:moveTo>
                <a:lnTo>
                  <a:pt x="8383044" y="5003422"/>
                </a:lnTo>
                <a:lnTo>
                  <a:pt x="8417905" y="5003422"/>
                </a:lnTo>
                <a:lnTo>
                  <a:pt x="8417905" y="4958675"/>
                </a:lnTo>
                <a:lnTo>
                  <a:pt x="8454193" y="4958675"/>
                </a:lnTo>
                <a:lnTo>
                  <a:pt x="8454193" y="5003422"/>
                </a:lnTo>
                <a:lnTo>
                  <a:pt x="8489054" y="5003422"/>
                </a:lnTo>
                <a:lnTo>
                  <a:pt x="8489054" y="4889642"/>
                </a:lnTo>
                <a:lnTo>
                  <a:pt x="8454193" y="4889642"/>
                </a:lnTo>
                <a:lnTo>
                  <a:pt x="8454193" y="4934873"/>
                </a:lnTo>
                <a:lnTo>
                  <a:pt x="8417905" y="4934873"/>
                </a:lnTo>
                <a:lnTo>
                  <a:pt x="8417905" y="4889642"/>
                </a:lnTo>
                <a:close/>
                <a:moveTo>
                  <a:pt x="8759786" y="4887261"/>
                </a:moveTo>
                <a:cubicBezTo>
                  <a:pt x="8745941" y="4887261"/>
                  <a:pt x="8729230" y="4888210"/>
                  <a:pt x="8717289" y="4889642"/>
                </a:cubicBezTo>
                <a:lnTo>
                  <a:pt x="8717289" y="5003422"/>
                </a:lnTo>
                <a:lnTo>
                  <a:pt x="8752150" y="5003422"/>
                </a:lnTo>
                <a:lnTo>
                  <a:pt x="8752150" y="4976282"/>
                </a:lnTo>
                <a:lnTo>
                  <a:pt x="8764566" y="4976282"/>
                </a:lnTo>
                <a:lnTo>
                  <a:pt x="8764566" y="4976291"/>
                </a:lnTo>
                <a:cubicBezTo>
                  <a:pt x="8797037" y="4976291"/>
                  <a:pt x="8817567" y="4959633"/>
                  <a:pt x="8817567" y="4930586"/>
                </a:cubicBezTo>
                <a:cubicBezTo>
                  <a:pt x="8817567" y="4898692"/>
                  <a:pt x="8795599" y="4887261"/>
                  <a:pt x="8759786" y="4887261"/>
                </a:cubicBezTo>
                <a:close/>
                <a:moveTo>
                  <a:pt x="8311428" y="4887261"/>
                </a:moveTo>
                <a:cubicBezTo>
                  <a:pt x="8297583" y="4887261"/>
                  <a:pt x="8280872" y="4888210"/>
                  <a:pt x="8268931" y="4889642"/>
                </a:cubicBezTo>
                <a:lnTo>
                  <a:pt x="8268931" y="5003422"/>
                </a:lnTo>
                <a:lnTo>
                  <a:pt x="8303791" y="5003422"/>
                </a:lnTo>
                <a:lnTo>
                  <a:pt x="8303791" y="4976282"/>
                </a:lnTo>
                <a:lnTo>
                  <a:pt x="8316208" y="4976282"/>
                </a:lnTo>
                <a:lnTo>
                  <a:pt x="8316199" y="4976291"/>
                </a:lnTo>
                <a:cubicBezTo>
                  <a:pt x="8348669" y="4976291"/>
                  <a:pt x="8369199" y="4959633"/>
                  <a:pt x="8369199" y="4930586"/>
                </a:cubicBezTo>
                <a:cubicBezTo>
                  <a:pt x="8369208" y="4898683"/>
                  <a:pt x="8347241" y="4887261"/>
                  <a:pt x="8311428" y="4887261"/>
                </a:cubicBezTo>
                <a:close/>
                <a:moveTo>
                  <a:pt x="8875337" y="4887252"/>
                </a:moveTo>
                <a:cubicBezTo>
                  <a:pt x="8847162" y="4887252"/>
                  <a:pt x="8828069" y="4898318"/>
                  <a:pt x="8828069" y="4921527"/>
                </a:cubicBezTo>
                <a:cubicBezTo>
                  <a:pt x="8828069" y="4961521"/>
                  <a:pt x="8882507" y="4953429"/>
                  <a:pt x="8882507" y="4971994"/>
                </a:cubicBezTo>
                <a:cubicBezTo>
                  <a:pt x="8882507" y="4979137"/>
                  <a:pt x="8877251" y="4982942"/>
                  <a:pt x="8864367" y="4982942"/>
                </a:cubicBezTo>
                <a:cubicBezTo>
                  <a:pt x="8852903" y="4982942"/>
                  <a:pt x="8835239" y="4979137"/>
                  <a:pt x="8824736" y="4973892"/>
                </a:cubicBezTo>
                <a:lnTo>
                  <a:pt x="8828555" y="5000074"/>
                </a:lnTo>
                <a:cubicBezTo>
                  <a:pt x="8839058" y="5003888"/>
                  <a:pt x="8853388" y="5005785"/>
                  <a:pt x="8864844" y="5005785"/>
                </a:cubicBezTo>
                <a:cubicBezTo>
                  <a:pt x="8893972" y="5005785"/>
                  <a:pt x="8917844" y="4996261"/>
                  <a:pt x="8917844" y="4967697"/>
                </a:cubicBezTo>
                <a:cubicBezTo>
                  <a:pt x="8917844" y="4939131"/>
                  <a:pt x="8886955" y="4936008"/>
                  <a:pt x="8871510" y="4928600"/>
                </a:cubicBezTo>
                <a:lnTo>
                  <a:pt x="8862940" y="4918674"/>
                </a:lnTo>
                <a:lnTo>
                  <a:pt x="8879165" y="4909630"/>
                </a:lnTo>
                <a:cubicBezTo>
                  <a:pt x="8890144" y="4909630"/>
                  <a:pt x="8902085" y="4912011"/>
                  <a:pt x="8910198" y="4915341"/>
                </a:cubicBezTo>
                <a:lnTo>
                  <a:pt x="8907332" y="4890582"/>
                </a:lnTo>
                <a:cubicBezTo>
                  <a:pt x="8898257" y="4888675"/>
                  <a:pt x="8890144" y="4887252"/>
                  <a:pt x="8875337" y="4887252"/>
                </a:cubicBezTo>
                <a:close/>
                <a:moveTo>
                  <a:pt x="0" y="0"/>
                </a:moveTo>
                <a:lnTo>
                  <a:pt x="9144000" y="0"/>
                </a:lnTo>
                <a:lnTo>
                  <a:pt x="9144000" y="5143500"/>
                </a:lnTo>
                <a:lnTo>
                  <a:pt x="0" y="514350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vert="horz" wrap="square" lIns="0" tIns="0" rIns="0" bIns="0" spcCol="324000" rtlCol="0" anchor="ctr">
            <a:noAutofit/>
          </a:bodyPr>
          <a:lstStyle>
            <a:lvl1pPr marL="0" indent="0" algn="ctr">
              <a:spcAft>
                <a:spcPts val="0"/>
              </a:spcAft>
              <a:buNone/>
              <a:defRPr lang="en-US" dirty="0"/>
            </a:lvl1pPr>
          </a:lstStyle>
          <a:p>
            <a:pPr marL="0" lvl="0" indent="0" algn="ctr">
              <a:buNone/>
            </a:pP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Click icon to insert your photo OR </a:t>
            </a:r>
            <a:br>
              <a:rPr lang="en-US" noProof="0" dirty="0"/>
            </a:br>
            <a:r>
              <a:rPr lang="en-US" noProof="0" dirty="0"/>
              <a:t>select one from PAL through Templafy </a:t>
            </a: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Then, use “Crop” to recenter and resize </a:t>
            </a:r>
            <a:br>
              <a:rPr lang="en-US" noProof="0" dirty="0"/>
            </a:br>
            <a:r>
              <a:rPr lang="en-US" noProof="0" dirty="0"/>
              <a:t>your image if your subject appears off-center</a:t>
            </a: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Need the white logo? Select “Hide Background Graphics” in the Format Shape pane.</a:t>
            </a:r>
          </a:p>
        </p:txBody>
      </p:sp>
      <p:sp>
        <p:nvSpPr>
          <p:cNvPr id="3" name="Footer Placeholder 11">
            <a:extLst>
              <a:ext uri="{FF2B5EF4-FFF2-40B4-BE49-F238E27FC236}">
                <a16:creationId xmlns:a16="http://schemas.microsoft.com/office/drawing/2014/main" id="{83C774FF-44C9-505B-D3A3-7BDAED31291A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>
          <a:xfrm>
            <a:off x="502919" y="4928616"/>
            <a:ext cx="2377440" cy="9144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4" name="Slide Number Placeholder 12">
            <a:extLst>
              <a:ext uri="{FF2B5EF4-FFF2-40B4-BE49-F238E27FC236}">
                <a16:creationId xmlns:a16="http://schemas.microsoft.com/office/drawing/2014/main" id="{8E634DF2-19D4-5701-B6C3-6993A4076E58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>
          <a:xfrm>
            <a:off x="182123" y="4928616"/>
            <a:ext cx="199973" cy="9144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85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fld id="{A5163908-529D-4A49-892F-D37C4044DFD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196946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 xmlns:a16="http://schemas.microsoft.com/office/drawing/2014/main">
      <p:transition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oter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BE0DDD1-E8FF-476A-B624-711BB78C5337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502919" y="4928616"/>
            <a:ext cx="5486400" cy="9144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636BD1A-AF4B-4287-A902-BC02DA082019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182123" y="4928616"/>
            <a:ext cx="199973" cy="9144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fld id="{A5163908-529D-4A49-892F-D37C4044DFD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37202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 xmlns:a16="http://schemas.microsoft.com/office/drawing/2014/main">
      <p:transition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light blue (vertical logo)">
    <p:bg>
      <p:bgPr>
        <a:solidFill>
          <a:srgbClr val="BDF0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1A8230AB-B9C3-ABB7-8E09-DB40160FB89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white">
          <a:xfrm>
            <a:off x="502921" y="4466069"/>
            <a:ext cx="4297680" cy="182880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200" b="0">
                <a:solidFill>
                  <a:srgbClr val="0B5ED7"/>
                </a:solidFill>
              </a:defRPr>
            </a:lvl1pPr>
          </a:lstStyle>
          <a:p>
            <a:pPr lvl="0"/>
            <a:r>
              <a:rPr lang="en-US" noProof="0" dirty="0"/>
              <a:t>Date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A337A30B-E80E-D3BE-EC18-C70BD71A60E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white">
          <a:xfrm>
            <a:off x="502921" y="4276855"/>
            <a:ext cx="4297680" cy="182880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200" b="0">
                <a:solidFill>
                  <a:srgbClr val="0B5ED7"/>
                </a:solidFill>
              </a:defRPr>
            </a:lvl1pPr>
          </a:lstStyle>
          <a:p>
            <a:pPr lvl="0"/>
            <a:r>
              <a:rPr lang="en-US" noProof="0" dirty="0"/>
              <a:t>Title and Business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09404725-0715-5DAD-58B4-34C44B05659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white">
          <a:xfrm>
            <a:off x="502921" y="4087641"/>
            <a:ext cx="4297680" cy="182880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200" b="1">
                <a:solidFill>
                  <a:srgbClr val="0B5ED7"/>
                </a:solidFill>
              </a:defRPr>
            </a:lvl1pPr>
          </a:lstStyle>
          <a:p>
            <a:pPr lvl="0"/>
            <a:r>
              <a:rPr lang="en-US" noProof="0" dirty="0"/>
              <a:t>Author</a:t>
            </a:r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9DEFDCC6-A291-B654-EC74-B2F7A352C26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02920" y="2057400"/>
            <a:ext cx="6035040" cy="1207008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3200">
                <a:solidFill>
                  <a:srgbClr val="0B5ED7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Presentation title</a:t>
            </a: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063D59C3-AC2B-8821-72FE-690F065F5B0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02920" y="1764792"/>
            <a:ext cx="6035040" cy="18288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1">
                <a:solidFill>
                  <a:srgbClr val="0B5ED7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Optional header</a:t>
            </a:r>
          </a:p>
        </p:txBody>
      </p:sp>
      <p:pic>
        <p:nvPicPr>
          <p:cNvPr id="2" name="Picture 1" descr="A blue and black logo&#10;&#10;Description automatically generated">
            <a:extLst>
              <a:ext uri="{FF2B5EF4-FFF2-40B4-BE49-F238E27FC236}">
                <a16:creationId xmlns:a16="http://schemas.microsoft.com/office/drawing/2014/main" id="{4F4C1511-F04E-7339-FC99-C7CDCAF03840}"/>
              </a:ext>
            </a:extLst>
          </p:cNvPr>
          <p:cNvPicPr>
            <a:picLocks noGrp="1" noRot="1" noMove="1" noResize="1" noEditPoints="1" noAdjustHandles="1" noChangeArrowheads="1" noChangeShapeType="1" noCrop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27277" y="283122"/>
            <a:ext cx="841742" cy="4579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4143415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 xmlns:a16="http://schemas.microsoft.com/office/drawing/2014/main" xmlns:a14="http://schemas.microsoft.com/office/drawing/2010/main">
      <p:transition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 - blu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C8DAE83-C9A1-3CFA-42F6-1FB772A3EA0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CC6C873-7B4F-45EB-5E38-3E9D0111ED8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5163908-529D-4A49-892F-D37C4044DFD8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5" name="Picture 4" descr="A blue letter on a black background&#10;&#10;Description automatically generated">
            <a:extLst>
              <a:ext uri="{FF2B5EF4-FFF2-40B4-BE49-F238E27FC236}">
                <a16:creationId xmlns:a16="http://schemas.microsoft.com/office/drawing/2014/main" id="{4F1A5FB4-4CD7-A2E4-670C-488F2F85AB4B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95684" y="395420"/>
            <a:ext cx="1152627" cy="210013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CDC5DC1B-90D1-16A7-427B-3D24F944CA79}"/>
              </a:ext>
            </a:extLst>
          </p:cNvPr>
          <p:cNvSpPr txBox="1"/>
          <p:nvPr userDrawn="1"/>
        </p:nvSpPr>
        <p:spPr>
          <a:xfrm>
            <a:off x="2028322" y="1833086"/>
            <a:ext cx="5087355" cy="1477328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marL="0" indent="0" algn="ctr">
              <a:spcAft>
                <a:spcPts val="600"/>
              </a:spcAft>
              <a:buSzPct val="75000"/>
              <a:buFontTx/>
              <a:buNone/>
            </a:pPr>
            <a:r>
              <a:rPr lang="en-US" sz="9600" b="0" i="0" dirty="0">
                <a:solidFill>
                  <a:schemeClr val="bg1"/>
                </a:solidFill>
                <a:latin typeface="+mj-lt"/>
                <a:cs typeface="Neue Frutiger World Light" panose="020B0403040304020203" pitchFamily="34" charset="0"/>
              </a:rPr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42022265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 xmlns:a16="http://schemas.microsoft.com/office/drawing/2014/main" xmlns:a14="http://schemas.microsoft.com/office/drawing/2010/main">
      <p:transition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 - blu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263651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 -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C8DAE83-C9A1-3CFA-42F6-1FB772A3EA0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CC6C873-7B4F-45EB-5E38-3E9D0111ED8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5163908-529D-4A49-892F-D37C4044DFD8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5" name="Picture 4" descr="A blue letter on a black background&#10;&#10;Description automatically generated">
            <a:extLst>
              <a:ext uri="{FF2B5EF4-FFF2-40B4-BE49-F238E27FC236}">
                <a16:creationId xmlns:a16="http://schemas.microsoft.com/office/drawing/2014/main" id="{4F1A5FB4-4CD7-A2E4-670C-488F2F85AB4B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95684" y="395420"/>
            <a:ext cx="1152627" cy="210013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DB3D22CC-58D4-6B7C-7DAB-99EF135F187D}"/>
              </a:ext>
            </a:extLst>
          </p:cNvPr>
          <p:cNvSpPr txBox="1"/>
          <p:nvPr userDrawn="1"/>
        </p:nvSpPr>
        <p:spPr>
          <a:xfrm>
            <a:off x="2028323" y="1833086"/>
            <a:ext cx="5087355" cy="1477328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marL="0" indent="0" algn="ctr">
              <a:spcAft>
                <a:spcPts val="600"/>
              </a:spcAft>
              <a:buSzPct val="75000"/>
              <a:buFontTx/>
              <a:buNone/>
            </a:pPr>
            <a:r>
              <a:rPr lang="en-US" sz="9600" b="0" i="0" dirty="0">
                <a:solidFill>
                  <a:srgbClr val="0B5ED7"/>
                </a:solidFill>
                <a:latin typeface="+mj-lt"/>
                <a:cs typeface="Neue Frutiger World Light" panose="020B0403040304020203" pitchFamily="34" charset="0"/>
              </a:rPr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11218522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 xmlns:a16="http://schemas.microsoft.com/office/drawing/2014/main" xmlns:a14="http://schemas.microsoft.com/office/drawing/2010/main">
      <p:transition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 - whit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6121408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Standar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B97E9A9-1E1C-4B5E-8AF4-C1C99BF628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518343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B97E9A9-1E1C-4B5E-8AF4-C1C99BF628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061105F-C847-40F9-BFC8-77D41F95297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B5F9301F-221F-44B2-8F12-C2FBAAF44E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51" y="376238"/>
            <a:ext cx="7523937" cy="719137"/>
          </a:xfrm>
          <a:prstGeom prst="rect">
            <a:avLst/>
          </a:prstGeom>
        </p:spPr>
        <p:txBody>
          <a:bodyPr lIns="0" tIns="0" rIns="0" bIns="0"/>
          <a:lstStyle>
            <a:lvl1pPr>
              <a:defRPr sz="2400">
                <a:solidFill>
                  <a:srgbClr val="00629F"/>
                </a:solidFill>
                <a:latin typeface="+mj-lt"/>
              </a:defRPr>
            </a:lvl1pPr>
          </a:lstStyle>
          <a:p>
            <a:endParaRPr lang="en-US" noProof="0"/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B2282174-65D2-744A-B154-E872792C7B2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04825" y="1211263"/>
            <a:ext cx="8135939" cy="3484800"/>
          </a:xfrm>
        </p:spPr>
        <p:txBody>
          <a:bodyPr lIns="0" tIns="0" rIns="0" bIns="0" numCol="1" spcCol="270000">
            <a:noAutofit/>
          </a:bodyPr>
          <a:lstStyle>
            <a:lvl1pPr>
              <a:lnSpc>
                <a:spcPct val="100000"/>
              </a:lnSpc>
              <a:defRPr sz="1400" b="0" i="0">
                <a:solidFill>
                  <a:schemeClr val="tx1"/>
                </a:solidFill>
                <a:latin typeface="+mn-lt"/>
                <a:cs typeface="Calibri Light" panose="020F0302020204030204" pitchFamily="34" charset="0"/>
              </a:defRPr>
            </a:lvl1pPr>
            <a:lvl2pPr>
              <a:lnSpc>
                <a:spcPct val="100000"/>
              </a:lnSpc>
              <a:defRPr sz="1200" b="0" i="0">
                <a:solidFill>
                  <a:schemeClr val="tx1"/>
                </a:solidFill>
                <a:latin typeface="+mn-lt"/>
                <a:cs typeface="Calibri Light" panose="020F0302020204030204" pitchFamily="34" charset="0"/>
              </a:defRPr>
            </a:lvl2pPr>
            <a:lvl3pPr>
              <a:lnSpc>
                <a:spcPct val="100000"/>
              </a:lnSpc>
              <a:defRPr sz="1050" b="0" i="0">
                <a:solidFill>
                  <a:schemeClr val="tx1"/>
                </a:solidFill>
                <a:latin typeface="+mn-lt"/>
                <a:cs typeface="Calibri Light" panose="020F0302020204030204" pitchFamily="34" charset="0"/>
              </a:defRPr>
            </a:lvl3pPr>
            <a:lvl4pPr>
              <a:lnSpc>
                <a:spcPct val="100000"/>
              </a:lnSpc>
              <a:defRPr sz="1000" b="0" i="0">
                <a:solidFill>
                  <a:schemeClr val="tx1"/>
                </a:solidFill>
                <a:latin typeface="+mn-lt"/>
                <a:cs typeface="Calibri Light" panose="020F0302020204030204" pitchFamily="34" charset="0"/>
              </a:defRPr>
            </a:lvl4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3732544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blue">
    <p:bg>
      <p:bgPr>
        <a:solidFill>
          <a:srgbClr val="0B5ED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1BA6EBA-0B6D-29E9-8810-D683D76E528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white">
          <a:xfrm>
            <a:off x="502921" y="4466513"/>
            <a:ext cx="4297680" cy="182880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2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Date</a:t>
            </a:r>
          </a:p>
        </p:txBody>
      </p:sp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C1FFB978-6F2E-5049-5D74-33430B16B32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white">
          <a:xfrm>
            <a:off x="502921" y="4277299"/>
            <a:ext cx="4297680" cy="182880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2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Title and Business</a:t>
            </a:r>
          </a:p>
        </p:txBody>
      </p:sp>
      <p:sp>
        <p:nvSpPr>
          <p:cNvPr id="2" name="Text Placeholder 3">
            <a:extLst>
              <a:ext uri="{FF2B5EF4-FFF2-40B4-BE49-F238E27FC236}">
                <a16:creationId xmlns:a16="http://schemas.microsoft.com/office/drawing/2014/main" id="{056F195D-D283-0223-500A-2A7F2FFBD18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white">
          <a:xfrm>
            <a:off x="502921" y="4088085"/>
            <a:ext cx="4297680" cy="182880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Author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DE790E38-98FA-70A9-4EE5-722204681BCA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02920" y="2743214"/>
            <a:ext cx="6035040" cy="1207008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32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Presentation title</a:t>
            </a:r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AB3D7AC3-F347-3071-2181-D9C053A942F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02920" y="2426750"/>
            <a:ext cx="6035040" cy="18288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1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Optional header</a:t>
            </a:r>
          </a:p>
        </p:txBody>
      </p:sp>
      <p:pic>
        <p:nvPicPr>
          <p:cNvPr id="14" name="Picture 13" descr="A blue letter on a black background&#10;&#10;Description automatically generated">
            <a:extLst>
              <a:ext uri="{FF2B5EF4-FFF2-40B4-BE49-F238E27FC236}">
                <a16:creationId xmlns:a16="http://schemas.microsoft.com/office/drawing/2014/main" id="{1A35D731-0B11-06EA-0894-958EC48E1220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0643" y="494551"/>
            <a:ext cx="8162712" cy="14988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469414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 xmlns:a16="http://schemas.microsoft.com/office/drawing/2014/main" xmlns:a14="http://schemas.microsoft.com/office/drawing/2010/main">
      <p:transition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77312E4E-DC5C-89CF-7901-9D7696F5D21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white">
          <a:xfrm>
            <a:off x="502921" y="4466069"/>
            <a:ext cx="4297680" cy="182880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200" b="0">
                <a:solidFill>
                  <a:srgbClr val="0B5ED7"/>
                </a:solidFill>
              </a:defRPr>
            </a:lvl1pPr>
          </a:lstStyle>
          <a:p>
            <a:pPr lvl="0"/>
            <a:r>
              <a:rPr lang="en-US" noProof="0" dirty="0"/>
              <a:t>Date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252FCA5D-44C5-0E96-A4ED-D15CBC06B98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white">
          <a:xfrm>
            <a:off x="502921" y="4276855"/>
            <a:ext cx="4297680" cy="182880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200" b="0">
                <a:solidFill>
                  <a:srgbClr val="0B5ED7"/>
                </a:solidFill>
              </a:defRPr>
            </a:lvl1pPr>
          </a:lstStyle>
          <a:p>
            <a:pPr lvl="0"/>
            <a:r>
              <a:rPr lang="en-US" noProof="0" dirty="0"/>
              <a:t>Title and Business</a:t>
            </a:r>
          </a:p>
        </p:txBody>
      </p:sp>
      <p:sp>
        <p:nvSpPr>
          <p:cNvPr id="2" name="Text Placeholder 3">
            <a:extLst>
              <a:ext uri="{FF2B5EF4-FFF2-40B4-BE49-F238E27FC236}">
                <a16:creationId xmlns:a16="http://schemas.microsoft.com/office/drawing/2014/main" id="{2A46E337-3DA0-B0D4-133A-AB8C2FAAE92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white">
          <a:xfrm>
            <a:off x="502921" y="4087641"/>
            <a:ext cx="4297680" cy="182880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200" b="1">
                <a:solidFill>
                  <a:srgbClr val="0B5ED7"/>
                </a:solidFill>
              </a:defRPr>
            </a:lvl1pPr>
          </a:lstStyle>
          <a:p>
            <a:pPr lvl="0"/>
            <a:r>
              <a:rPr lang="en-US" noProof="0" dirty="0"/>
              <a:t>Author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0436B09D-E480-1E38-A7DC-3421B3A1D26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02920" y="2743200"/>
            <a:ext cx="6050280" cy="1207008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3200">
                <a:solidFill>
                  <a:srgbClr val="0B5ED7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Presentation title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DEF22C47-0608-FFD6-A0EF-7FC8A208986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02920" y="2423160"/>
            <a:ext cx="6035040" cy="18288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1">
                <a:solidFill>
                  <a:srgbClr val="0B5ED7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Optional header</a:t>
            </a:r>
          </a:p>
        </p:txBody>
      </p:sp>
      <p:pic>
        <p:nvPicPr>
          <p:cNvPr id="14" name="Picture 13" descr="A blue letter on a black background&#10;&#10;Description automatically generated">
            <a:extLst>
              <a:ext uri="{FF2B5EF4-FFF2-40B4-BE49-F238E27FC236}">
                <a16:creationId xmlns:a16="http://schemas.microsoft.com/office/drawing/2014/main" id="{2ACDB9F0-E4A4-8202-89B5-AB6BCF94BD51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0643" y="494551"/>
            <a:ext cx="8162712" cy="14988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0791675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 xmlns:a16="http://schemas.microsoft.com/office/drawing/2014/main" xmlns:a14="http://schemas.microsoft.com/office/drawing/2010/main" xmlns:p15="http://schemas.microsoft.com/office/powerpoint/2012/main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: 1/3 logo blu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B97E9A9-1E1C-4B5E-8AF4-C1C99BF628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75810408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B97E9A9-1E1C-4B5E-8AF4-C1C99BF628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061105F-C847-40F9-BFC8-77D41F95297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16" name="Picture Placeholder 4">
            <a:extLst>
              <a:ext uri="{FF2B5EF4-FFF2-40B4-BE49-F238E27FC236}">
                <a16:creationId xmlns:a16="http://schemas.microsoft.com/office/drawing/2014/main" id="{4A21B94C-7C28-C49E-8A73-7BB8D32C62DC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4059936" y="0"/>
            <a:ext cx="5084064" cy="51435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vert="horz" wrap="square" lIns="0" tIns="0" rIns="0" bIns="0" spcCol="324000" rtlCol="0" anchor="ctr">
            <a:noAutofit/>
          </a:bodyPr>
          <a:lstStyle>
            <a:lvl1pPr marL="0" indent="0" algn="ctr">
              <a:spcAft>
                <a:spcPts val="0"/>
              </a:spcAft>
              <a:buNone/>
              <a:defRPr lang="en-US" dirty="0"/>
            </a:lvl1pPr>
          </a:lstStyle>
          <a:p>
            <a:pPr marL="0" lvl="0" indent="0" algn="ctr">
              <a:buNone/>
            </a:pPr>
            <a:r>
              <a:rPr lang="en-US" noProof="0" dirty="0"/>
              <a:t>Click icon to insert your photo OR</a:t>
            </a:r>
            <a:br>
              <a:rPr lang="en-US" noProof="0" dirty="0"/>
            </a:br>
            <a:r>
              <a:rPr lang="en-US" noProof="0" dirty="0"/>
              <a:t>select one from PAL through Templafy </a:t>
            </a: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Then, use “Crop” to recenter and resize</a:t>
            </a:r>
            <a:br>
              <a:rPr lang="en-US" noProof="0" dirty="0"/>
            </a:br>
            <a:r>
              <a:rPr lang="en-US" noProof="0" dirty="0"/>
              <a:t>your image if your subject appears off-center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2EE367FA-0013-3CCF-0C7D-DDEC90BC56D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white">
          <a:xfrm>
            <a:off x="502920" y="4463240"/>
            <a:ext cx="3108960" cy="182880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2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Date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1823AE83-3E3B-92E1-FB70-9FBDAA6BCC8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white">
          <a:xfrm>
            <a:off x="502920" y="4275304"/>
            <a:ext cx="3108960" cy="182880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2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Title and Business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8471E571-6560-C923-2D4C-1DA9F62DE1C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white">
          <a:xfrm>
            <a:off x="502920" y="4087368"/>
            <a:ext cx="3108960" cy="182880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Author</a:t>
            </a:r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65D577A7-4438-51B9-1408-E3E654B19AD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02920" y="2057401"/>
            <a:ext cx="3108960" cy="1329595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32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Presentation title</a:t>
            </a:r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0418FC48-F21F-8519-D2D8-2885B0BD65F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02920" y="1764792"/>
            <a:ext cx="3108960" cy="18288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1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Optional header</a:t>
            </a:r>
          </a:p>
        </p:txBody>
      </p:sp>
      <p:pic>
        <p:nvPicPr>
          <p:cNvPr id="2" name="Picture 1" descr="A blue letter on a black background&#10;&#10;Description automatically generated">
            <a:extLst>
              <a:ext uri="{FF2B5EF4-FFF2-40B4-BE49-F238E27FC236}">
                <a16:creationId xmlns:a16="http://schemas.microsoft.com/office/drawing/2014/main" id="{F7BE3BDF-77FD-FD36-ABA6-BBC1A344EE4E}"/>
              </a:ext>
            </a:extLst>
          </p:cNvPr>
          <p:cNvPicPr>
            <a:picLocks noGrp="1" noRot="1" noMove="1" noResize="1" noEditPoints="1" noAdjustHandles="1" noChangeArrowheads="1" noChangeShapeType="1" noCrop="1"/>
          </p:cNvPicPr>
          <p:nvPr userDrawn="1"/>
        </p:nvPicPr>
        <p:blipFill>
          <a:blip r:embed="rId6" cstate="print">
            <a:extLst>
              <a:ext uri="{BEBA8EAE-BF5A-486C-A8C5-ECC9F3942E4B}">
                <a14:imgProps xmlns:a14="http://schemas.microsoft.com/office/drawing/2010/main">
                  <a14:imgLayer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8900" y="493777"/>
            <a:ext cx="3108960" cy="5708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49125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 xmlns:a16="http://schemas.microsoft.com/office/drawing/2014/main" xmlns:v="urn:schemas-microsoft-com:vml" xmlns:a14="http://schemas.microsoft.com/office/drawing/2010/main" xmlns:p15="http://schemas.microsoft.com/office/powerpoint/2012/main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: 1/3 logo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B97E9A9-1E1C-4B5E-8AF4-C1C99BF628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16207919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B97E9A9-1E1C-4B5E-8AF4-C1C99BF628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061105F-C847-40F9-BFC8-77D41F95297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15" name="Picture Placeholder 4">
            <a:extLst>
              <a:ext uri="{FF2B5EF4-FFF2-40B4-BE49-F238E27FC236}">
                <a16:creationId xmlns:a16="http://schemas.microsoft.com/office/drawing/2014/main" id="{06FA6940-81B4-5F30-47C8-908F58E0B439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4059936" y="0"/>
            <a:ext cx="5084064" cy="51435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vert="horz" wrap="square" lIns="0" tIns="0" rIns="0" bIns="0" spcCol="324000" rtlCol="0" anchor="ctr">
            <a:noAutofit/>
          </a:bodyPr>
          <a:lstStyle>
            <a:lvl1pPr marL="0" indent="0" algn="ctr">
              <a:spcAft>
                <a:spcPts val="0"/>
              </a:spcAft>
              <a:buNone/>
              <a:defRPr lang="en-US" dirty="0"/>
            </a:lvl1pPr>
          </a:lstStyle>
          <a:p>
            <a:pPr marL="0" lvl="0" indent="0" algn="ctr">
              <a:buNone/>
            </a:pPr>
            <a:r>
              <a:rPr lang="en-US" noProof="0" dirty="0"/>
              <a:t>Click icon to insert your photo OR</a:t>
            </a:r>
            <a:br>
              <a:rPr lang="en-US" noProof="0" dirty="0"/>
            </a:br>
            <a:r>
              <a:rPr lang="en-US" noProof="0" dirty="0"/>
              <a:t>select one from PAL through Templafy </a:t>
            </a: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Then, use “Crop” to recenter and resize</a:t>
            </a:r>
            <a:br>
              <a:rPr lang="en-US" noProof="0" dirty="0"/>
            </a:br>
            <a:r>
              <a:rPr lang="en-US" noProof="0" dirty="0"/>
              <a:t>your image if your subject appears off-center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CC9B2CB8-AACA-A98F-4406-A49710FED38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white">
          <a:xfrm>
            <a:off x="502920" y="4462272"/>
            <a:ext cx="3108960" cy="182880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200" b="0">
                <a:solidFill>
                  <a:srgbClr val="0B5ED7"/>
                </a:solidFill>
              </a:defRPr>
            </a:lvl1pPr>
          </a:lstStyle>
          <a:p>
            <a:pPr lvl="0"/>
            <a:r>
              <a:rPr lang="en-US" noProof="0" dirty="0"/>
              <a:t>Date</a:t>
            </a: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0318B85E-CB3F-F750-5606-E0E20DA5ED7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white">
          <a:xfrm>
            <a:off x="502920" y="4274820"/>
            <a:ext cx="3108960" cy="182880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200" b="0">
                <a:solidFill>
                  <a:srgbClr val="0B5ED7"/>
                </a:solidFill>
              </a:defRPr>
            </a:lvl1pPr>
          </a:lstStyle>
          <a:p>
            <a:pPr lvl="0"/>
            <a:r>
              <a:rPr lang="en-US" noProof="0" dirty="0"/>
              <a:t>Title and Business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2DEE87C9-58F0-1BD5-F424-DF9A5B09F07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white">
          <a:xfrm>
            <a:off x="502920" y="4087368"/>
            <a:ext cx="3108960" cy="182880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200" b="1">
                <a:solidFill>
                  <a:srgbClr val="0B5ED7"/>
                </a:solidFill>
              </a:defRPr>
            </a:lvl1pPr>
          </a:lstStyle>
          <a:p>
            <a:pPr lvl="0"/>
            <a:r>
              <a:rPr lang="en-US" noProof="0" dirty="0"/>
              <a:t>Author</a:t>
            </a:r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40305E62-8667-FC12-E707-F92FB396423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02920" y="2057401"/>
            <a:ext cx="3108960" cy="1329595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3200">
                <a:solidFill>
                  <a:srgbClr val="0B5ED7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Presentation title</a:t>
            </a:r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E2B8A9A7-64E0-C36E-31F7-BE506AC64AB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02920" y="1764792"/>
            <a:ext cx="3108960" cy="18288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1">
                <a:solidFill>
                  <a:srgbClr val="0B5ED7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Optional header</a:t>
            </a:r>
          </a:p>
        </p:txBody>
      </p:sp>
      <p:pic>
        <p:nvPicPr>
          <p:cNvPr id="16" name="Picture 15" descr="A blue letter on a black background&#10;&#10;Description automatically generated">
            <a:extLst>
              <a:ext uri="{FF2B5EF4-FFF2-40B4-BE49-F238E27FC236}">
                <a16:creationId xmlns:a16="http://schemas.microsoft.com/office/drawing/2014/main" id="{A9543EE3-B6C8-50A7-7410-B4C6D0EE329C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8900" y="493777"/>
            <a:ext cx="3108960" cy="5708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957037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 xmlns:a16="http://schemas.microsoft.com/office/drawing/2014/main" xmlns:v="urn:schemas-microsoft-com:vml" xmlns:a14="http://schemas.microsoft.com/office/drawing/2010/main" xmlns:p15="http://schemas.microsoft.com/office/powerpoint/2012/main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: 1/3 logo light blue">
    <p:bg>
      <p:bgPr>
        <a:solidFill>
          <a:srgbClr val="BDF0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B97E9A9-1E1C-4B5E-8AF4-C1C99BF628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B97E9A9-1E1C-4B5E-8AF4-C1C99BF628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061105F-C847-40F9-BFC8-77D41F95297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16" name="Picture Placeholder 4">
            <a:extLst>
              <a:ext uri="{FF2B5EF4-FFF2-40B4-BE49-F238E27FC236}">
                <a16:creationId xmlns:a16="http://schemas.microsoft.com/office/drawing/2014/main" id="{5E12D76E-01D3-07B0-1D56-2358A148957B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4059936" y="0"/>
            <a:ext cx="5084064" cy="51435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vert="horz" wrap="square" lIns="0" tIns="0" rIns="0" bIns="0" spcCol="324000" rtlCol="0" anchor="ctr">
            <a:noAutofit/>
          </a:bodyPr>
          <a:lstStyle>
            <a:lvl1pPr marL="0" indent="0" algn="ctr">
              <a:spcAft>
                <a:spcPts val="0"/>
              </a:spcAft>
              <a:buNone/>
              <a:defRPr lang="en-US" dirty="0"/>
            </a:lvl1pPr>
          </a:lstStyle>
          <a:p>
            <a:pPr marL="0" lvl="0" indent="0" algn="ctr">
              <a:buNone/>
            </a:pPr>
            <a:r>
              <a:rPr lang="en-US" noProof="0" dirty="0"/>
              <a:t>Click icon to insert your photo OR</a:t>
            </a:r>
            <a:br>
              <a:rPr lang="en-US" noProof="0" dirty="0"/>
            </a:br>
            <a:r>
              <a:rPr lang="en-US" noProof="0" dirty="0"/>
              <a:t>select one from PAL through Templafy </a:t>
            </a: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Then, use “Crop” to recenter and resize</a:t>
            </a:r>
            <a:br>
              <a:rPr lang="en-US" noProof="0" dirty="0"/>
            </a:br>
            <a:r>
              <a:rPr lang="en-US" noProof="0" dirty="0"/>
              <a:t>your image if your subject appears off-center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5CB24236-CADB-7354-060A-BE0EB20144E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white">
          <a:xfrm>
            <a:off x="502920" y="4462272"/>
            <a:ext cx="3108960" cy="182880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200" b="0">
                <a:solidFill>
                  <a:srgbClr val="0B5ED7"/>
                </a:solidFill>
              </a:defRPr>
            </a:lvl1pPr>
          </a:lstStyle>
          <a:p>
            <a:pPr lvl="0"/>
            <a:r>
              <a:rPr lang="en-US" noProof="0" dirty="0"/>
              <a:t>Date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A909AA42-874F-29D2-A2E8-5F92C25F885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white">
          <a:xfrm>
            <a:off x="502920" y="4274820"/>
            <a:ext cx="3108960" cy="182880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200" b="0">
                <a:solidFill>
                  <a:srgbClr val="0B5ED7"/>
                </a:solidFill>
              </a:defRPr>
            </a:lvl1pPr>
          </a:lstStyle>
          <a:p>
            <a:pPr lvl="0"/>
            <a:r>
              <a:rPr lang="en-US" noProof="0" dirty="0"/>
              <a:t>Title and Business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C6E9C10D-3E78-9EB7-56B2-E9F10893986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white">
          <a:xfrm>
            <a:off x="502920" y="4087368"/>
            <a:ext cx="3108960" cy="182880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200" b="1">
                <a:solidFill>
                  <a:srgbClr val="0B5ED7"/>
                </a:solidFill>
              </a:defRPr>
            </a:lvl1pPr>
          </a:lstStyle>
          <a:p>
            <a:pPr lvl="0"/>
            <a:r>
              <a:rPr lang="en-US" noProof="0" dirty="0"/>
              <a:t>Author</a:t>
            </a:r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248CCF44-10C0-C55C-9440-4D098E5BE88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02920" y="2057401"/>
            <a:ext cx="3108960" cy="1329595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3200">
                <a:solidFill>
                  <a:srgbClr val="0B5ED7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Presentation title</a:t>
            </a:r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78224E75-DFDC-5E03-C79D-82F76B43E90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02920" y="1764792"/>
            <a:ext cx="3108960" cy="18288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1">
                <a:solidFill>
                  <a:srgbClr val="0B5ED7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Optional header</a:t>
            </a:r>
          </a:p>
        </p:txBody>
      </p:sp>
      <p:pic>
        <p:nvPicPr>
          <p:cNvPr id="2" name="Picture 1" descr="A blue letter on a black background&#10;&#10;Description automatically generated">
            <a:extLst>
              <a:ext uri="{FF2B5EF4-FFF2-40B4-BE49-F238E27FC236}">
                <a16:creationId xmlns:a16="http://schemas.microsoft.com/office/drawing/2014/main" id="{B9D51D7F-AFCE-8C5D-DC4D-4792772F4994}"/>
              </a:ext>
            </a:extLst>
          </p:cNvPr>
          <p:cNvPicPr>
            <a:picLocks noGrp="1" noRot="1" noMove="1" noResize="1" noEditPoints="1" noAdjustHandles="1" noChangeArrowheads="1" noChangeShapeType="1" noCrop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8900" y="493777"/>
            <a:ext cx="3108960" cy="5708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355578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 xmlns:a16="http://schemas.microsoft.com/office/drawing/2014/main" xmlns:v="urn:schemas-microsoft-com:vml" xmlns:a14="http://schemas.microsoft.com/office/drawing/2010/main" xmlns:p15="http://schemas.microsoft.com/office/powerpoint/2012/main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: 1/3 logo dark blue">
    <p:bg>
      <p:bgPr>
        <a:solidFill>
          <a:srgbClr val="00126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B97E9A9-1E1C-4B5E-8AF4-C1C99BF628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39482034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B97E9A9-1E1C-4B5E-8AF4-C1C99BF628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061105F-C847-40F9-BFC8-77D41F95297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16" name="Picture Placeholder 4">
            <a:extLst>
              <a:ext uri="{FF2B5EF4-FFF2-40B4-BE49-F238E27FC236}">
                <a16:creationId xmlns:a16="http://schemas.microsoft.com/office/drawing/2014/main" id="{683DEB3E-7F85-179F-44C9-A5EF66E3060C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4059936" y="0"/>
            <a:ext cx="5084064" cy="51435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vert="horz" wrap="square" lIns="0" tIns="0" rIns="0" bIns="0" spcCol="324000" rtlCol="0" anchor="ctr">
            <a:noAutofit/>
          </a:bodyPr>
          <a:lstStyle>
            <a:lvl1pPr marL="0" indent="0" algn="ctr">
              <a:spcAft>
                <a:spcPts val="0"/>
              </a:spcAft>
              <a:buNone/>
              <a:defRPr lang="en-US" dirty="0"/>
            </a:lvl1pPr>
          </a:lstStyle>
          <a:p>
            <a:pPr marL="0" lvl="0" indent="0" algn="ctr">
              <a:buNone/>
            </a:pPr>
            <a:r>
              <a:rPr lang="en-US" noProof="0" dirty="0"/>
              <a:t>Click icon to insert your photo OR</a:t>
            </a:r>
            <a:br>
              <a:rPr lang="en-US" noProof="0" dirty="0"/>
            </a:br>
            <a:r>
              <a:rPr lang="en-US" noProof="0" dirty="0"/>
              <a:t>select one from PAL through Templafy </a:t>
            </a: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Then, use “Crop” to recenter and resize</a:t>
            </a:r>
            <a:br>
              <a:rPr lang="en-US" noProof="0" dirty="0"/>
            </a:br>
            <a:r>
              <a:rPr lang="en-US" noProof="0" dirty="0"/>
              <a:t>your image if your subject appears off-center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85C7F54A-F913-36F3-2F31-734BCB4E154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white">
          <a:xfrm>
            <a:off x="502920" y="4462272"/>
            <a:ext cx="3108960" cy="182880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2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Date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AF9C8156-A911-51E4-C6BC-A3CEFA732A1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white">
          <a:xfrm>
            <a:off x="502920" y="4274820"/>
            <a:ext cx="3108960" cy="182880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2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Title and Business</a:t>
            </a: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8C4D7B7A-CA4A-233C-C20B-00C100B4452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white">
          <a:xfrm>
            <a:off x="502920" y="4087368"/>
            <a:ext cx="3108960" cy="182880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Author</a:t>
            </a:r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FE874D61-3A86-BE22-8DE1-7D0B805C6F1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02920" y="2057401"/>
            <a:ext cx="3108960" cy="1329595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32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Presentation title</a:t>
            </a:r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C11EBC91-9963-A82F-09DB-9FD3761D758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02920" y="1764792"/>
            <a:ext cx="3108960" cy="18288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1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Optional header</a:t>
            </a:r>
          </a:p>
        </p:txBody>
      </p:sp>
      <p:pic>
        <p:nvPicPr>
          <p:cNvPr id="12" name="Picture 11" descr="A blue letter on a black background&#10;&#10;Description automatically generated">
            <a:extLst>
              <a:ext uri="{FF2B5EF4-FFF2-40B4-BE49-F238E27FC236}">
                <a16:creationId xmlns:a16="http://schemas.microsoft.com/office/drawing/2014/main" id="{3B491AB6-7AFB-564D-92F4-42298A0191FB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6" cstate="print">
            <a:extLst>
              <a:ext uri="{BEBA8EAE-BF5A-486C-A8C5-ECC9F3942E4B}">
                <a14:imgProps xmlns:a14="http://schemas.microsoft.com/office/drawing/2010/main">
                  <a14:imgLayer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8900" y="493777"/>
            <a:ext cx="3108960" cy="5708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255751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 xmlns:a16="http://schemas.microsoft.com/office/drawing/2014/main" xmlns:v="urn:schemas-microsoft-com:vml" xmlns:a14="http://schemas.microsoft.com/office/drawing/2010/main" xmlns:p15="http://schemas.microsoft.com/office/powerpoint/2012/main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image" Target="../media/image1.png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theme" Target="../theme/theme1.xml"/><Relationship Id="rId8" Type="http://schemas.openxmlformats.org/officeDocument/2006/relationships/slideLayout" Target="../slideLayouts/slideLayout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59227EF0-9C60-2003-D6BA-C8BAF062178C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 userDrawn="1"/>
        </p:nvSpPr>
        <p:spPr>
          <a:xfrm>
            <a:off x="6319125" y="4928616"/>
            <a:ext cx="1620000" cy="91440"/>
          </a:xfrm>
          <a:prstGeom prst="rect">
            <a:avLst/>
          </a:prstGeom>
        </p:spPr>
        <p:txBody>
          <a:bodyPr vert="horz" lIns="0" tIns="0" rIns="0" bIns="0" rtlCol="0" anchor="t"/>
          <a:lstStyle>
            <a:defPPr>
              <a:defRPr lang="en-US"/>
            </a:defPPr>
            <a:lvl1pPr lvl="0">
              <a:defRPr sz="600" b="0" i="0">
                <a:cs typeface="Calibri Light" panose="020F0302020204030204" pitchFamily="34" charset="0"/>
              </a:defRPr>
            </a:lvl1pPr>
            <a:lvl2pPr marL="457140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78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17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55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69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834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97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11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600" dirty="0">
                <a:solidFill>
                  <a:schemeClr val="bg1">
                    <a:lumMod val="65000"/>
                  </a:schemeClr>
                </a:solidFill>
                <a:latin typeface="+mj-lt"/>
              </a:rPr>
              <a:t>© 2024 Koninklijke Philips N.V. All rights reserved.</a:t>
            </a:r>
          </a:p>
        </p:txBody>
      </p:sp>
      <p:sp>
        <p:nvSpPr>
          <p:cNvPr id="2" name="Footer Placeholder 6">
            <a:extLst>
              <a:ext uri="{FF2B5EF4-FFF2-40B4-BE49-F238E27FC236}">
                <a16:creationId xmlns:a16="http://schemas.microsoft.com/office/drawing/2014/main" id="{B1528AAF-4F0A-419B-8AAE-5F058B1EDEF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02919" y="4928616"/>
            <a:ext cx="5486400" cy="91440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600" b="0" i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libri Light" panose="020F03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" name="Slide Number Placeholder 7">
            <a:extLst>
              <a:ext uri="{FF2B5EF4-FFF2-40B4-BE49-F238E27FC236}">
                <a16:creationId xmlns:a16="http://schemas.microsoft.com/office/drawing/2014/main" id="{85343E1D-8E69-45CA-BB05-A8D2AF3930F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82123" y="4928616"/>
            <a:ext cx="199973" cy="91440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600" b="0" i="0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  <a:cs typeface="Calibri Light" panose="020F0302020204030204" pitchFamily="34" charset="0"/>
              </a:defRPr>
            </a:lvl1pPr>
          </a:lstStyle>
          <a:p>
            <a:fld id="{A5163908-529D-4A49-892F-D37C4044DFD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Text Placeholder 12">
            <a:extLst>
              <a:ext uri="{FF2B5EF4-FFF2-40B4-BE49-F238E27FC236}">
                <a16:creationId xmlns:a16="http://schemas.microsoft.com/office/drawing/2014/main" id="{9846266C-4ECA-426E-AC3C-9C2166215C9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04824" y="1211263"/>
            <a:ext cx="8132765" cy="3484800"/>
          </a:xfrm>
          <a:prstGeom prst="rect">
            <a:avLst/>
          </a:prstGeom>
        </p:spPr>
        <p:txBody>
          <a:bodyPr vert="horz" lIns="0" tIns="0" rIns="0" bIns="0" spcCol="324000" rtlCol="0">
            <a:noAutofit/>
          </a:bodyPr>
          <a:lstStyle/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5" name="Title Placeholder 5">
            <a:extLst>
              <a:ext uri="{FF2B5EF4-FFF2-40B4-BE49-F238E27FC236}">
                <a16:creationId xmlns:a16="http://schemas.microsoft.com/office/drawing/2014/main" id="{A0613193-D73A-5A4B-9E3D-2F277B4E033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3239" y="376241"/>
            <a:ext cx="8132765" cy="71913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 noProof="0" dirty="0"/>
              <a:t>Type your slide headline here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26902C94-33CD-D1CE-02FF-FB1D35E386CB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3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268931" y="4887110"/>
            <a:ext cx="649224" cy="1182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430984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74" r:id="rId1"/>
    <p:sldLayoutId id="2147484075" r:id="rId2"/>
    <p:sldLayoutId id="2147484076" r:id="rId3"/>
    <p:sldLayoutId id="2147484072" r:id="rId4"/>
    <p:sldLayoutId id="2147484073" r:id="rId5"/>
    <p:sldLayoutId id="2147484077" r:id="rId6"/>
    <p:sldLayoutId id="2147484078" r:id="rId7"/>
    <p:sldLayoutId id="2147484079" r:id="rId8"/>
    <p:sldLayoutId id="2147484080" r:id="rId9"/>
    <p:sldLayoutId id="2147484046" r:id="rId10"/>
    <p:sldLayoutId id="2147484047" r:id="rId11"/>
    <p:sldLayoutId id="2147484048" r:id="rId12"/>
    <p:sldLayoutId id="2147484050" r:id="rId13"/>
    <p:sldLayoutId id="2147484049" r:id="rId14"/>
    <p:sldLayoutId id="2147484051" r:id="rId15"/>
    <p:sldLayoutId id="2147484052" r:id="rId16"/>
    <p:sldLayoutId id="2147484053" r:id="rId17"/>
    <p:sldLayoutId id="2147484054" r:id="rId18"/>
    <p:sldLayoutId id="2147484055" r:id="rId19"/>
    <p:sldLayoutId id="2147484056" r:id="rId20"/>
    <p:sldLayoutId id="2147484057" r:id="rId21"/>
    <p:sldLayoutId id="2147484058" r:id="rId22"/>
    <p:sldLayoutId id="2147484032" r:id="rId23"/>
    <p:sldLayoutId id="2147484033" r:id="rId24"/>
    <p:sldLayoutId id="2147484034" r:id="rId25"/>
    <p:sldLayoutId id="2147484035" r:id="rId26"/>
    <p:sldLayoutId id="2147484036" r:id="rId27"/>
    <p:sldLayoutId id="2147484067" r:id="rId28"/>
    <p:sldLayoutId id="2147484068" r:id="rId29"/>
    <p:sldLayoutId id="2147484081" r:id="rId30"/>
    <p:sldLayoutId id="2147484069" r:id="rId31"/>
    <p:sldLayoutId id="2147484082" r:id="rId32"/>
    <p:sldLayoutId id="2147484070" r:id="rId33"/>
    <p:sldLayoutId id="2147484083" r:id="rId34"/>
  </p:sldLayoutIdLst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hf hdr="0" dt="0"/>
  <p:txStyles>
    <p:titleStyle>
      <a:lvl1pPr algn="l" defTabSz="914354" rtl="0" eaLnBrk="1" latinLnBrk="0" hangingPunct="1">
        <a:lnSpc>
          <a:spcPct val="100000"/>
        </a:lnSpc>
        <a:spcBef>
          <a:spcPct val="0"/>
        </a:spcBef>
        <a:spcAft>
          <a:spcPts val="600"/>
        </a:spcAft>
        <a:buNone/>
        <a:defRPr lang="en-US" sz="2400" kern="1200" smtClean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146304" indent="-146304" algn="l" defTabSz="1836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rgbClr val="000000"/>
        </a:buClr>
        <a:buSzPct val="75000"/>
        <a:buChar char="•"/>
        <a:defRPr lang="en-US" sz="1400" b="0" i="0" kern="1200" dirty="0">
          <a:solidFill>
            <a:schemeClr val="tx1"/>
          </a:solidFill>
          <a:latin typeface="Calibri" panose="020F0502020204030204" pitchFamily="34" charset="0"/>
          <a:ea typeface="+mn-ea"/>
          <a:cs typeface="Calibri Light" panose="020F0302020204030204" pitchFamily="34" charset="0"/>
        </a:defRPr>
      </a:lvl1pPr>
      <a:lvl2pPr marL="295200" indent="-147600" algn="l" defTabSz="1836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rgbClr val="000000"/>
        </a:buClr>
        <a:buSzPct val="75000"/>
        <a:buChar char="•"/>
        <a:defRPr lang="en-US" sz="1400" b="0" i="0" kern="1200" dirty="0">
          <a:solidFill>
            <a:schemeClr val="tx1"/>
          </a:solidFill>
          <a:latin typeface="Calibri" panose="020F0502020204030204" pitchFamily="34" charset="0"/>
          <a:ea typeface="+mn-ea"/>
          <a:cs typeface="Calibri Light" panose="020F0302020204030204" pitchFamily="34" charset="0"/>
        </a:defRPr>
      </a:lvl2pPr>
      <a:lvl3pPr marL="442800" indent="-147600" algn="l" defTabSz="1836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rgbClr val="000000"/>
        </a:buClr>
        <a:buSzPct val="75000"/>
        <a:buChar char="•"/>
        <a:defRPr lang="en-US" sz="1400" b="0" i="0" kern="1200" dirty="0">
          <a:solidFill>
            <a:schemeClr val="tx1"/>
          </a:solidFill>
          <a:latin typeface="Calibri" panose="020F0502020204030204" pitchFamily="34" charset="0"/>
          <a:ea typeface="+mn-ea"/>
          <a:cs typeface="Calibri Light" panose="020F0302020204030204" pitchFamily="34" charset="0"/>
        </a:defRPr>
      </a:lvl3pPr>
      <a:lvl4pPr marL="590400" indent="-147600" algn="l" defTabSz="1836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rgbClr val="000000"/>
        </a:buClr>
        <a:buSzPct val="75000"/>
        <a:buChar char="•"/>
        <a:defRPr lang="en-US" sz="1400" b="0" i="0" kern="1200" dirty="0">
          <a:solidFill>
            <a:schemeClr val="tx1"/>
          </a:solidFill>
          <a:latin typeface="Calibri" panose="020F0502020204030204" pitchFamily="34" charset="0"/>
          <a:ea typeface="+mn-ea"/>
          <a:cs typeface="Calibri Light" panose="020F0302020204030204" pitchFamily="34" charset="0"/>
        </a:defRPr>
      </a:lvl4pPr>
      <a:lvl5pPr marL="738000" indent="-147600" algn="l" defTabSz="1836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rgbClr val="000000"/>
        </a:buClr>
        <a:buSzPct val="75000"/>
        <a:buChar char="•"/>
        <a:defRPr lang="en-IN" sz="1400" kern="1200" dirty="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5pPr>
      <a:lvl6pPr marL="885600" indent="-147600" algn="l" defTabSz="914354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SzPct val="75000"/>
        <a:buChar char="•"/>
        <a:defRPr lang="en-US" sz="1400" kern="1200" dirty="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6pPr>
      <a:lvl7pPr marL="1033200" indent="-147600" algn="l" defTabSz="914354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SzPct val="75000"/>
        <a:buChar char="•"/>
        <a:defRPr sz="1400" kern="12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7pPr>
      <a:lvl8pPr marL="1180800" indent="-147600" algn="l" defTabSz="914354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SzPct val="75000"/>
        <a:buChar char="•"/>
        <a:defRPr sz="1400" kern="12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8pPr>
      <a:lvl9pPr marL="1328400" indent="-147600" algn="l" defTabSz="914354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SzPct val="75000"/>
        <a:buChar char="•"/>
        <a:defRPr sz="1400" kern="12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9pPr>
    </p:bodyStyle>
    <p:otherStyle>
      <a:defPPr>
        <a:defRPr lang="de-DE"/>
      </a:defPPr>
      <a:lvl1pPr marL="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4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3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12" userDrawn="1">
          <p15:clr>
            <a:srgbClr val="A4A3A4"/>
          </p15:clr>
        </p15:guide>
        <p15:guide id="4" orient="horz" pos="228" userDrawn="1">
          <p15:clr>
            <a:srgbClr val="A4A3A4"/>
          </p15:clr>
        </p15:guide>
        <p15:guide id="7" orient="horz" pos="2964" userDrawn="1">
          <p15:clr>
            <a:srgbClr val="A4A3A4"/>
          </p15:clr>
        </p15:guide>
        <p15:guide id="15" orient="horz" pos="1620" userDrawn="1">
          <p15:clr>
            <a:srgbClr val="F26B43"/>
          </p15:clr>
        </p15:guide>
        <p15:guide id="16" pos="288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3.xml"/><Relationship Id="rId2" Type="http://schemas.openxmlformats.org/officeDocument/2006/relationships/customXml" Target="../../customXml/item4.xml"/><Relationship Id="rId1" Type="http://schemas.openxmlformats.org/officeDocument/2006/relationships/customXml" Target="../../customXml/item3.xml"/><Relationship Id="rId5" Type="http://schemas.openxmlformats.org/officeDocument/2006/relationships/image" Target="../media/image14.png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1.xml"/><Relationship Id="rId2" Type="http://schemas.openxmlformats.org/officeDocument/2006/relationships/customXml" Target="../../customXml/item6.xml"/><Relationship Id="rId1" Type="http://schemas.openxmlformats.org/officeDocument/2006/relationships/customXml" Target="../../customXml/item5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3.xml"/><Relationship Id="rId4" Type="http://schemas.openxmlformats.org/officeDocument/2006/relationships/image" Target="../media/image200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3.xml"/><Relationship Id="rId4" Type="http://schemas.openxmlformats.org/officeDocument/2006/relationships/image" Target="../media/image16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3.xml"/><Relationship Id="rId4" Type="http://schemas.openxmlformats.org/officeDocument/2006/relationships/image" Target="../media/image18.jpe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9.xml"/><Relationship Id="rId4" Type="http://schemas.openxmlformats.org/officeDocument/2006/relationships/image" Target="../media/image20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jpeg"/><Relationship Id="rId3" Type="http://schemas.openxmlformats.org/officeDocument/2006/relationships/image" Target="../media/image21.png"/><Relationship Id="rId7" Type="http://schemas.openxmlformats.org/officeDocument/2006/relationships/image" Target="../media/image25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3.xml"/><Relationship Id="rId6" Type="http://schemas.openxmlformats.org/officeDocument/2006/relationships/image" Target="../media/image24.png"/><Relationship Id="rId11" Type="http://schemas.openxmlformats.org/officeDocument/2006/relationships/image" Target="../media/image29.jpeg"/><Relationship Id="rId5" Type="http://schemas.openxmlformats.org/officeDocument/2006/relationships/image" Target="../media/image23.png"/><Relationship Id="rId10" Type="http://schemas.openxmlformats.org/officeDocument/2006/relationships/image" Target="../media/image28.png"/><Relationship Id="rId4" Type="http://schemas.openxmlformats.org/officeDocument/2006/relationships/image" Target="../media/image22.png"/><Relationship Id="rId9" Type="http://schemas.openxmlformats.org/officeDocument/2006/relationships/image" Target="../media/image27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9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9.xml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5" Type="http://schemas.openxmlformats.org/officeDocument/2006/relationships/image" Target="../media/image31.png"/><Relationship Id="rId4" Type="http://schemas.openxmlformats.org/officeDocument/2006/relationships/notesSlide" Target="../notesSlides/notesSlide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7" Type="http://schemas.openxmlformats.org/officeDocument/2006/relationships/image" Target="../media/image35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4.xml"/><Relationship Id="rId6" Type="http://schemas.openxmlformats.org/officeDocument/2006/relationships/image" Target="../media/image18.jpeg"/><Relationship Id="rId5" Type="http://schemas.openxmlformats.org/officeDocument/2006/relationships/image" Target="../media/image34.png"/><Relationship Id="rId4" Type="http://schemas.openxmlformats.org/officeDocument/2006/relationships/image" Target="../media/image33.jpe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3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5BDD03E-C5E4-5B3B-E1A6-63B08082597B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A5163908-529D-4A49-892F-D37C4044DFD8}" type="slidenum">
              <a:rPr lang="en-US" smtClean="0"/>
              <a:pPr/>
              <a:t>1</a:t>
            </a:fld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1C0FD810-861C-8EF2-52CF-99FFEAD5A5E7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5501262" y="1852613"/>
            <a:ext cx="3136959" cy="719137"/>
          </a:xfrm>
        </p:spPr>
        <p:txBody>
          <a:bodyPr/>
          <a:lstStyle/>
          <a:p>
            <a:pPr marL="0" indent="0">
              <a:buNone/>
            </a:pPr>
            <a:r>
              <a:rPr lang="en-US" dirty="0"/>
              <a:t>How to benefit from (quantum) non-locality in an information game.</a:t>
            </a: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FBF7F283-C47B-3C2A-4CB4-512C4942725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05253" y="376241"/>
            <a:ext cx="3136959" cy="719137"/>
          </a:xfrm>
        </p:spPr>
        <p:txBody>
          <a:bodyPr/>
          <a:lstStyle/>
          <a:p>
            <a:r>
              <a:rPr lang="en-US" dirty="0" err="1"/>
              <a:t>QSeaBattle</a:t>
            </a:r>
            <a:br>
              <a:rPr lang="en-US" dirty="0"/>
            </a:br>
            <a:r>
              <a:rPr lang="en-US" sz="1200" i="1" dirty="0"/>
              <a:t>A two-player game where success is limited by information flow</a:t>
            </a:r>
            <a:br>
              <a:rPr lang="en-US" sz="1200" i="1" dirty="0"/>
            </a:br>
            <a:endParaRPr lang="en-US" i="1" dirty="0"/>
          </a:p>
        </p:txBody>
      </p:sp>
      <p:pic>
        <p:nvPicPr>
          <p:cNvPr id="11" name="Picture 10" descr="A blue and white logo&#10;&#10;AI-generated content may be incorrect.">
            <a:extLst>
              <a:ext uri="{FF2B5EF4-FFF2-40B4-BE49-F238E27FC236}">
                <a16:creationId xmlns:a16="http://schemas.microsoft.com/office/drawing/2014/main" id="{978E574F-6690-DCDE-6622-4BF19EBDD11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0" y="0"/>
            <a:ext cx="5143500" cy="5143500"/>
          </a:xfrm>
          <a:prstGeom prst="rect">
            <a:avLst/>
          </a:prstGeom>
        </p:spPr>
      </p:pic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F58AC6B1-E1B8-4377-1968-5ABEBF439D6E}"/>
              </a:ext>
            </a:extLst>
          </p:cNvPr>
          <p:cNvSpPr txBox="1">
            <a:spLocks/>
          </p:cNvSpPr>
          <p:nvPr/>
        </p:nvSpPr>
        <p:spPr>
          <a:xfrm>
            <a:off x="5653662" y="4355184"/>
            <a:ext cx="3136959" cy="256094"/>
          </a:xfrm>
          <a:prstGeom prst="rect">
            <a:avLst/>
          </a:prstGeom>
        </p:spPr>
        <p:txBody>
          <a:bodyPr vert="horz" lIns="0" tIns="0" rIns="0" bIns="0" spcCol="324000" rtlCol="0">
            <a:noAutofit/>
          </a:bodyPr>
          <a:lstStyle>
            <a:lvl1pPr marL="146304" indent="-146304" algn="l" defTabSz="1836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Pct val="75000"/>
              <a:buChar char="•"/>
              <a:defRPr lang="en-US" sz="1400" b="0" i="0" kern="1200" dirty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 Light" panose="020F0302020204030204" pitchFamily="34" charset="0"/>
              </a:defRPr>
            </a:lvl1pPr>
            <a:lvl2pPr marL="295200" indent="-147600" algn="l" defTabSz="1836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Pct val="75000"/>
              <a:buChar char="•"/>
              <a:defRPr lang="en-US" sz="1400" b="0" i="0" kern="1200" dirty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 Light" panose="020F0302020204030204" pitchFamily="34" charset="0"/>
              </a:defRPr>
            </a:lvl2pPr>
            <a:lvl3pPr marL="442800" indent="-147600" algn="l" defTabSz="1836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Pct val="75000"/>
              <a:buChar char="•"/>
              <a:defRPr lang="en-US" sz="1400" b="0" i="0" kern="1200" dirty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 Light" panose="020F0302020204030204" pitchFamily="34" charset="0"/>
              </a:defRPr>
            </a:lvl3pPr>
            <a:lvl4pPr marL="590400" indent="-147600" algn="l" defTabSz="1836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Pct val="75000"/>
              <a:buChar char="•"/>
              <a:defRPr lang="en-US" sz="1400" b="0" i="0" kern="1200" dirty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 Light" panose="020F0302020204030204" pitchFamily="34" charset="0"/>
              </a:defRPr>
            </a:lvl4pPr>
            <a:lvl5pPr marL="738000" indent="-147600" algn="l" defTabSz="1836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Pct val="75000"/>
              <a:buChar char="•"/>
              <a:defRPr lang="en-IN" sz="14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5pPr>
            <a:lvl6pPr marL="885600" indent="-147600" algn="l" defTabSz="9143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5000"/>
              <a:buChar char="•"/>
              <a:defRPr lang="en-US" sz="14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6pPr>
            <a:lvl7pPr marL="1033200" indent="-147600" algn="l" defTabSz="9143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5000"/>
              <a:buChar char="•"/>
              <a:defRPr sz="14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7pPr>
            <a:lvl8pPr marL="1180800" indent="-147600" algn="l" defTabSz="9143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5000"/>
              <a:buChar char="•"/>
              <a:defRPr sz="14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8pPr>
            <a:lvl9pPr marL="1328400" indent="-147600" algn="l" defTabSz="9143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5000"/>
              <a:buChar char="•"/>
              <a:defRPr sz="14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9pPr>
          </a:lstStyle>
          <a:p>
            <a:pPr marL="0" indent="0">
              <a:buFontTx/>
              <a:buNone/>
            </a:pPr>
            <a:endParaRPr lang="en-US" dirty="0"/>
          </a:p>
        </p:txBody>
      </p: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2341943A-5D35-4B9C-6AD7-1005BEFD6339}"/>
              </a:ext>
            </a:extLst>
          </p:cNvPr>
          <p:cNvSpPr txBox="1">
            <a:spLocks/>
          </p:cNvSpPr>
          <p:nvPr/>
        </p:nvSpPr>
        <p:spPr>
          <a:xfrm>
            <a:off x="5501262" y="4639212"/>
            <a:ext cx="3136959" cy="256094"/>
          </a:xfrm>
          <a:prstGeom prst="rect">
            <a:avLst/>
          </a:prstGeom>
        </p:spPr>
        <p:txBody>
          <a:bodyPr vert="horz" lIns="0" tIns="0" rIns="0" bIns="0" spcCol="324000" rtlCol="0">
            <a:noAutofit/>
          </a:bodyPr>
          <a:lstStyle>
            <a:lvl1pPr marL="146304" indent="-146304" algn="l" defTabSz="1836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Pct val="75000"/>
              <a:buChar char="•"/>
              <a:defRPr lang="en-US" sz="1400" b="0" i="0" kern="1200" dirty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 Light" panose="020F0302020204030204" pitchFamily="34" charset="0"/>
              </a:defRPr>
            </a:lvl1pPr>
            <a:lvl2pPr marL="295200" indent="-147600" algn="l" defTabSz="1836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Pct val="75000"/>
              <a:buChar char="•"/>
              <a:defRPr lang="en-US" sz="1400" b="0" i="0" kern="1200" dirty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 Light" panose="020F0302020204030204" pitchFamily="34" charset="0"/>
              </a:defRPr>
            </a:lvl2pPr>
            <a:lvl3pPr marL="442800" indent="-147600" algn="l" defTabSz="1836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Pct val="75000"/>
              <a:buChar char="•"/>
              <a:defRPr lang="en-US" sz="1400" b="0" i="0" kern="1200" dirty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 Light" panose="020F0302020204030204" pitchFamily="34" charset="0"/>
              </a:defRPr>
            </a:lvl3pPr>
            <a:lvl4pPr marL="590400" indent="-147600" algn="l" defTabSz="1836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Pct val="75000"/>
              <a:buChar char="•"/>
              <a:defRPr lang="en-US" sz="1400" b="0" i="0" kern="1200" dirty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 Light" panose="020F0302020204030204" pitchFamily="34" charset="0"/>
              </a:defRPr>
            </a:lvl4pPr>
            <a:lvl5pPr marL="738000" indent="-147600" algn="l" defTabSz="1836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Pct val="75000"/>
              <a:buChar char="•"/>
              <a:defRPr lang="en-IN" sz="14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5pPr>
            <a:lvl6pPr marL="885600" indent="-147600" algn="l" defTabSz="9143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5000"/>
              <a:buChar char="•"/>
              <a:defRPr lang="en-US" sz="14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6pPr>
            <a:lvl7pPr marL="1033200" indent="-147600" algn="l" defTabSz="9143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5000"/>
              <a:buChar char="•"/>
              <a:defRPr sz="14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7pPr>
            <a:lvl8pPr marL="1180800" indent="-147600" algn="l" defTabSz="9143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5000"/>
              <a:buChar char="•"/>
              <a:defRPr sz="14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8pPr>
            <a:lvl9pPr marL="1328400" indent="-147600" algn="l" defTabSz="9143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5000"/>
              <a:buChar char="•"/>
              <a:defRPr sz="14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9pPr>
          </a:lstStyle>
          <a:p>
            <a:pPr marL="0" indent="0">
              <a:buFontTx/>
              <a:buNone/>
            </a:pPr>
            <a:r>
              <a:rPr lang="en-US"/>
              <a:t>Rob Hendriks, January 2026</a:t>
            </a:r>
            <a:endParaRPr lang="en-US" dirty="0"/>
          </a:p>
        </p:txBody>
      </p:sp>
    </p:spTree>
    <p:custDataLst>
      <p:custData r:id="rId1"/>
      <p:custData r:id="rId2"/>
    </p:custDataLst>
    <p:extLst>
      <p:ext uri="{BB962C8B-B14F-4D97-AF65-F5344CB8AC3E}">
        <p14:creationId xmlns:p14="http://schemas.microsoft.com/office/powerpoint/2010/main" val="10584188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:a16="http://schemas.microsoft.com/office/drawing/2014/main" xmlns="">
      <p:transition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custDataLst>
      <p:custData r:id="rId1"/>
      <p:custData r:id="rId2"/>
    </p:custDataLst>
    <p:extLst>
      <p:ext uri="{BB962C8B-B14F-4D97-AF65-F5344CB8AC3E}">
        <p14:creationId xmlns:p14="http://schemas.microsoft.com/office/powerpoint/2010/main" val="9348196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DB72D71-4944-18D7-4729-46860624CA6B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502920" y="867304"/>
            <a:ext cx="3984240" cy="3484800"/>
          </a:xfrm>
        </p:spPr>
        <p:txBody>
          <a:bodyPr/>
          <a:lstStyle/>
          <a:p>
            <a:r>
              <a:rPr lang="en-US" dirty="0"/>
              <a:t>One source, two measuring parties</a:t>
            </a:r>
          </a:p>
          <a:p>
            <a:r>
              <a:rPr lang="en-US" dirty="0"/>
              <a:t>Each party selects between 2 measurements (T/S)</a:t>
            </a:r>
          </a:p>
          <a:p>
            <a:r>
              <a:rPr lang="en-US" dirty="0"/>
              <a:t>For every measurement they get 1 outcomes from two possibilities(1/0)</a:t>
            </a:r>
          </a:p>
          <a:p>
            <a:pPr marL="0" indent="0">
              <a:buNone/>
            </a:pPr>
            <a:r>
              <a:rPr lang="en-US" b="1" dirty="0">
                <a:sym typeface="Wingdings" panose="05000000000000000000" pitchFamily="2" charset="2"/>
              </a:rPr>
              <a:t> </a:t>
            </a:r>
            <a:r>
              <a:rPr lang="en-US" b="1" dirty="0"/>
              <a:t>16 ‘situations’</a:t>
            </a:r>
          </a:p>
          <a:p>
            <a:endParaRPr lang="en-US" dirty="0"/>
          </a:p>
          <a:p>
            <a:endParaRPr lang="en-NL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1F727AE9-B3C9-9B9E-0699-2D7E2A4671B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PR 1935 / Alain Aspect 1982</a:t>
            </a:r>
            <a:endParaRPr lang="en-NL" dirty="0"/>
          </a:p>
        </p:txBody>
      </p:sp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338AFB53-B49C-2E85-34AE-EDCF53AD8D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61845484"/>
              </p:ext>
            </p:extLst>
          </p:nvPr>
        </p:nvGraphicFramePr>
        <p:xfrm>
          <a:off x="1310481" y="2325128"/>
          <a:ext cx="5853605" cy="1828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70721">
                  <a:extLst>
                    <a:ext uri="{9D8B030D-6E8A-4147-A177-3AD203B41FA5}">
                      <a16:colId xmlns:a16="http://schemas.microsoft.com/office/drawing/2014/main" val="235294739"/>
                    </a:ext>
                  </a:extLst>
                </a:gridCol>
                <a:gridCol w="1170721">
                  <a:extLst>
                    <a:ext uri="{9D8B030D-6E8A-4147-A177-3AD203B41FA5}">
                      <a16:colId xmlns:a16="http://schemas.microsoft.com/office/drawing/2014/main" val="3504664758"/>
                    </a:ext>
                  </a:extLst>
                </a:gridCol>
                <a:gridCol w="1170721">
                  <a:extLst>
                    <a:ext uri="{9D8B030D-6E8A-4147-A177-3AD203B41FA5}">
                      <a16:colId xmlns:a16="http://schemas.microsoft.com/office/drawing/2014/main" val="3997465964"/>
                    </a:ext>
                  </a:extLst>
                </a:gridCol>
                <a:gridCol w="1170721">
                  <a:extLst>
                    <a:ext uri="{9D8B030D-6E8A-4147-A177-3AD203B41FA5}">
                      <a16:colId xmlns:a16="http://schemas.microsoft.com/office/drawing/2014/main" val="1775070082"/>
                    </a:ext>
                  </a:extLst>
                </a:gridCol>
                <a:gridCol w="1170721">
                  <a:extLst>
                    <a:ext uri="{9D8B030D-6E8A-4147-A177-3AD203B41FA5}">
                      <a16:colId xmlns:a16="http://schemas.microsoft.com/office/drawing/2014/main" val="1028670046"/>
                    </a:ext>
                  </a:extLst>
                </a:gridCol>
              </a:tblGrid>
              <a:tr h="421734">
                <a:tc>
                  <a:txBody>
                    <a:bodyPr/>
                    <a:lstStyle/>
                    <a:p>
                      <a:r>
                        <a:rPr lang="en-US" sz="1200" dirty="0"/>
                        <a:t>Measurement Alice</a:t>
                      </a:r>
                      <a:endParaRPr lang="en-NL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Measurement Bob</a:t>
                      </a:r>
                      <a:endParaRPr lang="en-NL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Outcome Alice</a:t>
                      </a:r>
                      <a:endParaRPr lang="en-NL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Outcome Bob</a:t>
                      </a:r>
                      <a:endParaRPr lang="en-NL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Correlation</a:t>
                      </a:r>
                      <a:endParaRPr lang="en-NL" sz="12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8929409"/>
                  </a:ext>
                </a:extLst>
              </a:tr>
              <a:tr h="260664">
                <a:tc>
                  <a:txBody>
                    <a:bodyPr/>
                    <a:lstStyle/>
                    <a:p>
                      <a:r>
                        <a:rPr lang="en-US" sz="1200" dirty="0"/>
                        <a:t>T</a:t>
                      </a:r>
                      <a:endParaRPr lang="en-NL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T</a:t>
                      </a:r>
                      <a:endParaRPr lang="en-NL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1</a:t>
                      </a:r>
                      <a:endParaRPr lang="en-NL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0</a:t>
                      </a:r>
                      <a:endParaRPr lang="en-NL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‘TT’ = -1</a:t>
                      </a:r>
                      <a:endParaRPr lang="en-NL" sz="12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38976882"/>
                  </a:ext>
                </a:extLst>
              </a:tr>
              <a:tr h="260664">
                <a:tc>
                  <a:txBody>
                    <a:bodyPr/>
                    <a:lstStyle/>
                    <a:p>
                      <a:r>
                        <a:rPr lang="en-US" sz="1200" dirty="0"/>
                        <a:t>T</a:t>
                      </a:r>
                      <a:endParaRPr lang="en-NL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T</a:t>
                      </a:r>
                      <a:endParaRPr lang="en-NL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0</a:t>
                      </a:r>
                      <a:endParaRPr lang="en-NL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0</a:t>
                      </a:r>
                      <a:endParaRPr lang="en-NL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‘TT’ = 1</a:t>
                      </a:r>
                      <a:endParaRPr lang="en-NL" sz="12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1192886"/>
                  </a:ext>
                </a:extLst>
              </a:tr>
              <a:tr h="260664">
                <a:tc>
                  <a:txBody>
                    <a:bodyPr/>
                    <a:lstStyle/>
                    <a:p>
                      <a:r>
                        <a:rPr lang="en-US" sz="1200" dirty="0"/>
                        <a:t>S</a:t>
                      </a:r>
                      <a:endParaRPr lang="en-NL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T</a:t>
                      </a:r>
                      <a:endParaRPr lang="en-NL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1</a:t>
                      </a:r>
                      <a:endParaRPr lang="en-NL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0</a:t>
                      </a:r>
                      <a:endParaRPr lang="en-NL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‘ST’ = -1</a:t>
                      </a:r>
                      <a:endParaRPr lang="en-NL" sz="12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65415547"/>
                  </a:ext>
                </a:extLst>
              </a:tr>
              <a:tr h="260664">
                <a:tc>
                  <a:txBody>
                    <a:bodyPr/>
                    <a:lstStyle/>
                    <a:p>
                      <a:r>
                        <a:rPr lang="en-US" sz="1200" dirty="0"/>
                        <a:t>T</a:t>
                      </a:r>
                      <a:endParaRPr lang="en-NL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S</a:t>
                      </a:r>
                      <a:endParaRPr lang="en-NL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1</a:t>
                      </a:r>
                      <a:endParaRPr lang="en-NL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1</a:t>
                      </a:r>
                      <a:endParaRPr lang="en-NL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35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/>
                        <a:t>‘TS’ = 1</a:t>
                      </a:r>
                      <a:endParaRPr lang="en-NL" sz="12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2173297"/>
                  </a:ext>
                </a:extLst>
              </a:tr>
              <a:tr h="260664">
                <a:tc>
                  <a:txBody>
                    <a:bodyPr/>
                    <a:lstStyle/>
                    <a:p>
                      <a:r>
                        <a:rPr lang="en-US" sz="1200" dirty="0" err="1"/>
                        <a:t>etc</a:t>
                      </a:r>
                      <a:endParaRPr lang="en-NL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 err="1"/>
                        <a:t>etc</a:t>
                      </a:r>
                      <a:endParaRPr lang="en-NL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 err="1"/>
                        <a:t>etc</a:t>
                      </a:r>
                      <a:endParaRPr lang="en-NL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 err="1"/>
                        <a:t>etc</a:t>
                      </a:r>
                      <a:endParaRPr lang="en-NL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 err="1"/>
                        <a:t>etc</a:t>
                      </a:r>
                      <a:endParaRPr lang="en-NL" sz="12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32204963"/>
                  </a:ext>
                </a:extLst>
              </a:tr>
            </a:tbl>
          </a:graphicData>
        </a:graphic>
      </p:graphicFrame>
      <p:pic>
        <p:nvPicPr>
          <p:cNvPr id="7" name="Picture 6">
            <a:extLst>
              <a:ext uri="{FF2B5EF4-FFF2-40B4-BE49-F238E27FC236}">
                <a16:creationId xmlns:a16="http://schemas.microsoft.com/office/drawing/2014/main" id="{50424D5E-9BA5-E80F-28FA-AF186338A66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656841" y="123444"/>
            <a:ext cx="4367864" cy="1487721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9" name="TextBox 8">
                <a:extLst>
                  <a:ext uri="{FF2B5EF4-FFF2-40B4-BE49-F238E27FC236}">
                    <a16:creationId xmlns:a16="http://schemas.microsoft.com/office/drawing/2014/main" id="{227AFE3D-131F-5F43-14F5-5FD6AEE9553C}"/>
                  </a:ext>
                </a:extLst>
              </p:cNvPr>
              <p:cNvSpPr txBox="1"/>
              <p:nvPr/>
            </p:nvSpPr>
            <p:spPr>
              <a:xfrm>
                <a:off x="1298220" y="4420920"/>
                <a:ext cx="5865866" cy="338554"/>
              </a:xfrm>
              <a:prstGeom prst="rect">
                <a:avLst/>
              </a:prstGeom>
              <a:solidFill>
                <a:srgbClr val="FFFF00"/>
              </a:solidFill>
              <a:ln>
                <a:noFill/>
              </a:ln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600" b="1" i="0" smtClean="0">
                          <a:solidFill>
                            <a:srgbClr val="262626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𝐂𝐇𝐒𝐇</m:t>
                      </m:r>
                      <m:r>
                        <a:rPr lang="en-US" sz="1600" b="1" i="0" smtClean="0">
                          <a:solidFill>
                            <a:srgbClr val="262626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</m:t>
                      </m:r>
                      <m:r>
                        <a:rPr lang="en-US" sz="1600" b="1" i="0" smtClean="0">
                          <a:solidFill>
                            <a:srgbClr val="262626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𝐜𝐨𝐫𝐫𝐞𝐥𝐚𝐭𝐢𝐨𝐧</m:t>
                      </m:r>
                      <m:r>
                        <a:rPr lang="en-US" sz="1600" b="1" i="0" smtClean="0">
                          <a:solidFill>
                            <a:srgbClr val="262626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=|&lt;</m:t>
                      </m:r>
                      <m:r>
                        <a:rPr lang="en-US" sz="1600" b="1" i="1" smtClean="0">
                          <a:solidFill>
                            <a:srgbClr val="262626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𝑺𝑺</m:t>
                      </m:r>
                      <m:r>
                        <a:rPr lang="nl-NL" sz="1600" b="1" i="1">
                          <a:solidFill>
                            <a:srgbClr val="262626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&gt; </m:t>
                      </m:r>
                      <m:r>
                        <a:rPr lang="en-US" sz="1600" b="1" i="1" smtClean="0">
                          <a:solidFill>
                            <a:srgbClr val="262626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r>
                        <a:rPr lang="nl-NL" sz="1600" b="1" i="1">
                          <a:solidFill>
                            <a:srgbClr val="262626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&lt;</m:t>
                      </m:r>
                      <m:r>
                        <a:rPr lang="en-US" sz="1600" b="1" i="1" smtClean="0">
                          <a:solidFill>
                            <a:srgbClr val="262626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𝑺𝑻</m:t>
                      </m:r>
                      <m:r>
                        <a:rPr lang="nl-NL" sz="1600" b="1" i="1">
                          <a:solidFill>
                            <a:srgbClr val="262626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&gt; + &lt;</m:t>
                      </m:r>
                      <m:r>
                        <a:rPr lang="en-US" sz="1600" b="1" i="1" smtClean="0">
                          <a:solidFill>
                            <a:srgbClr val="262626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𝑻𝑺</m:t>
                      </m:r>
                      <m:r>
                        <a:rPr lang="nl-NL" sz="1600" b="1" i="1">
                          <a:solidFill>
                            <a:srgbClr val="262626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&gt; </m:t>
                      </m:r>
                      <m:r>
                        <a:rPr lang="en-US" sz="1600" b="1" i="1" smtClean="0">
                          <a:solidFill>
                            <a:srgbClr val="262626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 </m:t>
                      </m:r>
                      <m:r>
                        <a:rPr lang="nl-NL" sz="1600" b="1" i="1">
                          <a:solidFill>
                            <a:srgbClr val="262626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&lt;</m:t>
                      </m:r>
                      <m:r>
                        <a:rPr lang="en-US" sz="1600" b="1" i="1" smtClean="0">
                          <a:solidFill>
                            <a:srgbClr val="262626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𝑻𝑻</m:t>
                      </m:r>
                      <m:r>
                        <a:rPr lang="nl-NL" sz="1600" b="1" i="1">
                          <a:solidFill>
                            <a:srgbClr val="262626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&gt;</m:t>
                      </m:r>
                      <m:r>
                        <a:rPr lang="en-US" sz="1600" b="1" i="1" smtClean="0">
                          <a:solidFill>
                            <a:srgbClr val="262626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|</m:t>
                      </m:r>
                    </m:oMath>
                  </m:oMathPara>
                </a14:m>
                <a:endParaRPr lang="en-NL" sz="1400" b="1" dirty="0"/>
              </a:p>
            </p:txBody>
          </p:sp>
        </mc:Choice>
        <mc:Fallback xmlns="">
          <p:sp>
            <p:nvSpPr>
              <p:cNvPr id="9" name="TextBox 8">
                <a:extLst>
                  <a:ext uri="{FF2B5EF4-FFF2-40B4-BE49-F238E27FC236}">
                    <a16:creationId xmlns:a16="http://schemas.microsoft.com/office/drawing/2014/main" id="{227AFE3D-131F-5F43-14F5-5FD6AEE9553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298220" y="4420920"/>
                <a:ext cx="5865866" cy="338554"/>
              </a:xfrm>
              <a:prstGeom prst="rect">
                <a:avLst/>
              </a:prstGeom>
              <a:blipFill>
                <a:blip r:embed="rId4"/>
                <a:stretch>
                  <a:fillRect b="-8929"/>
                </a:stretch>
              </a:blipFill>
              <a:ln>
                <a:noFill/>
              </a:ln>
            </p:spPr>
            <p:txBody>
              <a:bodyPr/>
              <a:lstStyle/>
              <a:p>
                <a:r>
                  <a:rPr lang="en-NL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11701531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400">
        <p:fade/>
      </p:transition>
    </mc:Choice>
    <mc:Fallback>
      <p:transition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35DFABE-706D-EC4E-D164-D4C9A4AA1913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A5163908-529D-4A49-892F-D37C4044DFD8}" type="slidenum">
              <a:rPr lang="en-US" smtClean="0"/>
              <a:pPr/>
              <a:t>2</a:t>
            </a:fld>
            <a:endParaRPr lang="en-US" dirty="0"/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9EE21490-2234-12DE-0977-5207C5013648}"/>
              </a:ext>
            </a:extLst>
          </p:cNvPr>
          <p:cNvSpPr txBox="1">
            <a:spLocks/>
          </p:cNvSpPr>
          <p:nvPr/>
        </p:nvSpPr>
        <p:spPr>
          <a:xfrm>
            <a:off x="0" y="3516197"/>
            <a:ext cx="9144000" cy="1627301"/>
          </a:xfrm>
          <a:prstGeom prst="rect">
            <a:avLst/>
          </a:prstGeom>
          <a:solidFill>
            <a:schemeClr val="bg1"/>
          </a:solidFill>
        </p:spPr>
        <p:txBody>
          <a:bodyPr vert="horz" lIns="0" tIns="0" rIns="0" bIns="0" spcCol="324000" rtlCol="0">
            <a:noAutofit/>
          </a:bodyPr>
          <a:lstStyle>
            <a:lvl1pPr marL="146304" indent="-146304" algn="l" defTabSz="1836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Pct val="75000"/>
              <a:buChar char="•"/>
              <a:defRPr lang="en-US" sz="1400" b="0" i="0" kern="1200" dirty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 Light" panose="020F0302020204030204" pitchFamily="34" charset="0"/>
              </a:defRPr>
            </a:lvl1pPr>
            <a:lvl2pPr marL="295200" indent="-147600" algn="l" defTabSz="1836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Pct val="75000"/>
              <a:buChar char="•"/>
              <a:defRPr lang="en-US" sz="1400" b="0" i="0" kern="1200" dirty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 Light" panose="020F0302020204030204" pitchFamily="34" charset="0"/>
              </a:defRPr>
            </a:lvl2pPr>
            <a:lvl3pPr marL="442800" indent="-147600" algn="l" defTabSz="1836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Pct val="75000"/>
              <a:buChar char="•"/>
              <a:defRPr lang="en-US" sz="1400" b="0" i="0" kern="1200" dirty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 Light" panose="020F0302020204030204" pitchFamily="34" charset="0"/>
              </a:defRPr>
            </a:lvl3pPr>
            <a:lvl4pPr marL="590400" indent="-147600" algn="l" defTabSz="1836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Pct val="75000"/>
              <a:buChar char="•"/>
              <a:defRPr lang="en-US" sz="1400" b="0" i="0" kern="1200" dirty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 Light" panose="020F0302020204030204" pitchFamily="34" charset="0"/>
              </a:defRPr>
            </a:lvl4pPr>
            <a:lvl5pPr marL="738000" indent="-147600" algn="l" defTabSz="1836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Pct val="75000"/>
              <a:buChar char="•"/>
              <a:defRPr lang="en-IN" sz="14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5pPr>
            <a:lvl6pPr marL="885600" indent="-147600" algn="l" defTabSz="9143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5000"/>
              <a:buChar char="•"/>
              <a:defRPr lang="en-US" sz="14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6pPr>
            <a:lvl7pPr marL="1033200" indent="-147600" algn="l" defTabSz="9143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5000"/>
              <a:buChar char="•"/>
              <a:defRPr sz="14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7pPr>
            <a:lvl8pPr marL="1180800" indent="-147600" algn="l" defTabSz="9143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5000"/>
              <a:buChar char="•"/>
              <a:defRPr sz="14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8pPr>
            <a:lvl9pPr marL="1328400" indent="-147600" algn="l" defTabSz="9143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5000"/>
              <a:buChar char="•"/>
              <a:defRPr sz="14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9pPr>
          </a:lstStyle>
          <a:p>
            <a:pPr marL="444096" lvl="3" indent="0">
              <a:buNone/>
            </a:pPr>
            <a:r>
              <a:rPr lang="en-US" b="1" dirty="0"/>
              <a:t>Rules																										</a:t>
            </a:r>
          </a:p>
          <a:p>
            <a:pPr marL="786996" lvl="3" indent="-342900">
              <a:spcAft>
                <a:spcPts val="0"/>
              </a:spcAft>
              <a:buFont typeface="+mj-lt"/>
              <a:buAutoNum type="arabicPeriod"/>
            </a:pPr>
            <a:r>
              <a:rPr lang="en-US" dirty="0"/>
              <a:t>Game is played on </a:t>
            </a:r>
            <a:r>
              <a:rPr lang="en-US" i="1" dirty="0" err="1"/>
              <a:t>n</a:t>
            </a:r>
            <a:r>
              <a:rPr lang="en-US" sz="1100" dirty="0" err="1"/>
              <a:t>x</a:t>
            </a:r>
            <a:r>
              <a:rPr lang="en-US" i="1" dirty="0" err="1"/>
              <a:t>n</a:t>
            </a:r>
            <a:r>
              <a:rPr lang="en-US" dirty="0"/>
              <a:t> grid</a:t>
            </a:r>
          </a:p>
          <a:p>
            <a:pPr marL="786996" lvl="3" indent="-342900">
              <a:spcAft>
                <a:spcPts val="0"/>
              </a:spcAft>
              <a:buFont typeface="+mj-lt"/>
              <a:buAutoNum type="arabicPeriod"/>
            </a:pPr>
            <a:r>
              <a:rPr lang="en-US" dirty="0"/>
              <a:t>Each cell has equal probability to contain enemy ship															</a:t>
            </a:r>
          </a:p>
          <a:p>
            <a:pPr marL="786996" lvl="3" indent="-342900">
              <a:spcAft>
                <a:spcPts val="0"/>
              </a:spcAft>
              <a:buFont typeface="+mj-lt"/>
              <a:buAutoNum type="arabicPeriod"/>
            </a:pPr>
            <a:r>
              <a:rPr lang="en-US" dirty="0"/>
              <a:t>Alice knows the position of enemy ships										</a:t>
            </a:r>
          </a:p>
          <a:p>
            <a:pPr marL="786996" lvl="3" indent="-342900">
              <a:spcAft>
                <a:spcPts val="0"/>
              </a:spcAft>
              <a:buFont typeface="+mj-lt"/>
              <a:buAutoNum type="arabicPeriod"/>
            </a:pPr>
            <a:r>
              <a:rPr lang="en-US" dirty="0"/>
              <a:t>Bob knows where the gun is pointing											</a:t>
            </a:r>
          </a:p>
          <a:p>
            <a:pPr marL="786996" lvl="3" indent="-342900">
              <a:spcAft>
                <a:spcPts val="0"/>
              </a:spcAft>
              <a:buFont typeface="+mj-lt"/>
              <a:buAutoNum type="arabicPeriod"/>
            </a:pPr>
            <a:r>
              <a:rPr lang="en-US" dirty="0"/>
              <a:t>Alice communicates </a:t>
            </a:r>
            <a:r>
              <a:rPr lang="en-US" i="1" dirty="0"/>
              <a:t>m</a:t>
            </a:r>
            <a:r>
              <a:rPr lang="en-US" dirty="0"/>
              <a:t> bits to Bob													</a:t>
            </a:r>
          </a:p>
          <a:p>
            <a:pPr marL="786996" lvl="3" indent="-342900">
              <a:spcAft>
                <a:spcPts val="0"/>
              </a:spcAft>
              <a:buFont typeface="+mj-lt"/>
              <a:buAutoNum type="arabicPeriod"/>
            </a:pPr>
            <a:r>
              <a:rPr lang="en-US" dirty="0"/>
              <a:t>Bob decides whether to shoot, or not shoot the gun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NL" dirty="0"/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E995A3EC-6AA8-9A7C-AED5-DD65417921AA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t="17411" r="393" b="10011"/>
          <a:stretch>
            <a:fillRect/>
          </a:stretch>
        </p:blipFill>
        <p:spPr>
          <a:xfrm>
            <a:off x="0" y="1"/>
            <a:ext cx="6749592" cy="3278676"/>
          </a:xfrm>
          <a:prstGeom prst="rect">
            <a:avLst/>
          </a:prstGeom>
        </p:spPr>
      </p:pic>
      <p:pic>
        <p:nvPicPr>
          <p:cNvPr id="9" name="Picture 8" descr="A diagram of a game&#10;&#10;AI-generated content may be incorrect.">
            <a:extLst>
              <a:ext uri="{FF2B5EF4-FFF2-40B4-BE49-F238E27FC236}">
                <a16:creationId xmlns:a16="http://schemas.microsoft.com/office/drawing/2014/main" id="{F33F7055-D4B9-D5F3-C9B7-4508967A230E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 l="84005" t="41217" r="703" b="32798"/>
          <a:stretch>
            <a:fillRect/>
          </a:stretch>
        </p:blipFill>
        <p:spPr>
          <a:xfrm>
            <a:off x="7285889" y="643275"/>
            <a:ext cx="1255826" cy="1422644"/>
          </a:xfrm>
          <a:prstGeom prst="rect">
            <a:avLst/>
          </a:prstGeom>
        </p:spPr>
      </p:pic>
      <p:sp>
        <p:nvSpPr>
          <p:cNvPr id="15" name="Rectangle 14">
            <a:extLst>
              <a:ext uri="{FF2B5EF4-FFF2-40B4-BE49-F238E27FC236}">
                <a16:creationId xmlns:a16="http://schemas.microsoft.com/office/drawing/2014/main" id="{540657A9-E47D-3A9A-0095-831492E31EF4}"/>
              </a:ext>
            </a:extLst>
          </p:cNvPr>
          <p:cNvSpPr/>
          <p:nvPr/>
        </p:nvSpPr>
        <p:spPr>
          <a:xfrm>
            <a:off x="5825765" y="899334"/>
            <a:ext cx="923827" cy="1542207"/>
          </a:xfrm>
          <a:prstGeom prst="rect">
            <a:avLst/>
          </a:prstGeom>
          <a:solidFill>
            <a:schemeClr val="bg1"/>
          </a:solidFill>
        </p:spPr>
        <p:txBody>
          <a:bodyPr vert="horz" lIns="0" tIns="0" rIns="0" bIns="0" spcCol="324000" rtlCol="0">
            <a:noAutofit/>
          </a:bodyPr>
          <a:lstStyle/>
          <a:p>
            <a:pPr defTabSz="183600">
              <a:spcAft>
                <a:spcPts val="600"/>
              </a:spcAft>
              <a:buClr>
                <a:srgbClr val="000000"/>
              </a:buClr>
              <a:buSzPct val="75000"/>
            </a:pPr>
            <a:endParaRPr lang="en-NL" sz="1400" dirty="0" err="1">
              <a:solidFill>
                <a:schemeClr val="tx1"/>
              </a:solidFill>
              <a:latin typeface="Calibri" panose="020F05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5A3059A5-A0D8-E7E1-1D2E-E638D342D0F8}"/>
              </a:ext>
            </a:extLst>
          </p:cNvPr>
          <p:cNvSpPr/>
          <p:nvPr/>
        </p:nvSpPr>
        <p:spPr>
          <a:xfrm>
            <a:off x="6749592" y="2128332"/>
            <a:ext cx="2129943" cy="883778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vert="horz" lIns="0" tIns="0" rIns="0" bIns="0" spcCol="324000" rtlCol="0">
            <a:noAutofit/>
          </a:bodyPr>
          <a:lstStyle/>
          <a:p>
            <a:pPr defTabSz="183600">
              <a:spcAft>
                <a:spcPts val="600"/>
              </a:spcAft>
              <a:buClr>
                <a:srgbClr val="000000"/>
              </a:buClr>
              <a:buSzPct val="75000"/>
            </a:pPr>
            <a:r>
              <a:rPr lang="en-US" sz="1400" dirty="0">
                <a:solidFill>
                  <a:schemeClr val="tx1"/>
                </a:solidFill>
                <a:latin typeface="Calibri" panose="020F0502020204030204" pitchFamily="34" charset="0"/>
                <a:cs typeface="Calibri Light" panose="020F0302020204030204" pitchFamily="34" charset="0"/>
              </a:rPr>
              <a:t>Winning is:</a:t>
            </a:r>
          </a:p>
          <a:p>
            <a:pPr marL="285750" indent="-285750" defTabSz="183600">
              <a:spcAft>
                <a:spcPts val="600"/>
              </a:spcAft>
              <a:buClr>
                <a:srgbClr val="000000"/>
              </a:buClr>
              <a:buSzPct val="75000"/>
              <a:buFontTx/>
              <a:buChar char="-"/>
            </a:pPr>
            <a:r>
              <a:rPr lang="en-US" sz="1400" dirty="0">
                <a:latin typeface="Calibri" panose="020F0502020204030204" pitchFamily="34" charset="0"/>
                <a:cs typeface="Calibri Light" panose="020F0302020204030204" pitchFamily="34" charset="0"/>
              </a:rPr>
              <a:t>Shoot the enemy</a:t>
            </a:r>
          </a:p>
          <a:p>
            <a:pPr marL="285750" indent="-285750" defTabSz="183600">
              <a:spcAft>
                <a:spcPts val="600"/>
              </a:spcAft>
              <a:buClr>
                <a:srgbClr val="000000"/>
              </a:buClr>
              <a:buSzPct val="75000"/>
              <a:buFontTx/>
              <a:buChar char="-"/>
            </a:pPr>
            <a:r>
              <a:rPr lang="en-US" sz="1400" dirty="0">
                <a:latin typeface="Calibri" panose="020F0502020204030204" pitchFamily="34" charset="0"/>
                <a:cs typeface="Calibri Light" panose="020F0302020204030204" pitchFamily="34" charset="0"/>
              </a:rPr>
              <a:t>Not shoot an empty cell</a:t>
            </a:r>
            <a:endParaRPr lang="en-NL" sz="1400" dirty="0" err="1">
              <a:solidFill>
                <a:schemeClr val="tx1"/>
              </a:solidFill>
              <a:latin typeface="Calibri" panose="020F0502020204030204" pitchFamily="34" charset="0"/>
              <a:cs typeface="Calibri Light" panose="020F0302020204030204" pitchFamily="34" charset="0"/>
            </a:endParaRP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7F4615D9-6CE4-30AE-EFFF-A4A5F2EEA696}"/>
              </a:ext>
            </a:extLst>
          </p:cNvPr>
          <p:cNvCxnSpPr/>
          <p:nvPr/>
        </p:nvCxnSpPr>
        <p:spPr>
          <a:xfrm>
            <a:off x="678730" y="3391799"/>
            <a:ext cx="7598004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561983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 xmlns:a16="http://schemas.microsoft.com/office/drawing/2014/main">
      <p:transition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>
            <a:extLst>
              <a:ext uri="{FF2B5EF4-FFF2-40B4-BE49-F238E27FC236}">
                <a16:creationId xmlns:a16="http://schemas.microsoft.com/office/drawing/2014/main" id="{A454005E-04A4-AAE2-68A8-C2F62BA8988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140447" y="0"/>
            <a:ext cx="4104409" cy="5143500"/>
          </a:xfrm>
          <a:prstGeom prst="rect">
            <a:avLst/>
          </a:prstGeom>
        </p:spPr>
      </p:pic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517DD97-581E-830D-5F9C-D29BFFFF8850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A5163908-529D-4A49-892F-D37C4044DFD8}" type="slidenum">
              <a:rPr lang="en-US" smtClean="0"/>
              <a:pPr/>
              <a:t>3</a:t>
            </a:fld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9D15047-C456-1305-23D8-E5E5CAAB4CA4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501787" y="1095378"/>
            <a:ext cx="4636394" cy="1253974"/>
          </a:xfrm>
          <a:solidFill>
            <a:schemeClr val="bg1"/>
          </a:solidFill>
        </p:spPr>
        <p:txBody>
          <a:bodyPr/>
          <a:lstStyle/>
          <a:p>
            <a:pPr marL="0" indent="0">
              <a:spcBef>
                <a:spcPts val="600"/>
              </a:spcBef>
              <a:buNone/>
            </a:pPr>
            <a:r>
              <a:rPr lang="en-US" b="1" dirty="0"/>
              <a:t>Base players</a:t>
            </a:r>
            <a:r>
              <a:rPr lang="en-US" dirty="0"/>
              <a:t>: 				Random guess</a:t>
            </a:r>
          </a:p>
          <a:p>
            <a:pPr marL="0" indent="0">
              <a:spcBef>
                <a:spcPts val="600"/>
              </a:spcBef>
              <a:buNone/>
            </a:pPr>
            <a:r>
              <a:rPr lang="en-US" b="1" dirty="0"/>
              <a:t>Simple players</a:t>
            </a:r>
            <a:r>
              <a:rPr lang="en-US" dirty="0"/>
              <a:t>: 			Communicate the value of first cell</a:t>
            </a:r>
          </a:p>
          <a:p>
            <a:pPr marL="0" indent="0">
              <a:spcBef>
                <a:spcPts val="600"/>
              </a:spcBef>
              <a:buNone/>
            </a:pPr>
            <a:r>
              <a:rPr lang="en-US" b="1" dirty="0"/>
              <a:t>Majority players</a:t>
            </a:r>
            <a:r>
              <a:rPr lang="en-US" dirty="0"/>
              <a:t>: 		Communicate the value that occurs most</a:t>
            </a:r>
          </a:p>
          <a:p>
            <a:pPr marL="0" indent="0">
              <a:spcBef>
                <a:spcPts val="600"/>
              </a:spcBef>
              <a:buNone/>
            </a:pPr>
            <a:r>
              <a:rPr lang="en-US" b="1" dirty="0"/>
              <a:t>AI players</a:t>
            </a:r>
            <a:r>
              <a:rPr lang="en-US" dirty="0"/>
              <a:t>: 					Neural networks learning from scratch</a:t>
            </a:r>
            <a:endParaRPr lang="en-NL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88CB9B97-57BA-F213-1238-68375EC6CEC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53" y="376241"/>
            <a:ext cx="4636394" cy="719137"/>
          </a:xfrm>
          <a:solidFill>
            <a:schemeClr val="bg1"/>
          </a:solidFill>
        </p:spPr>
        <p:txBody>
          <a:bodyPr/>
          <a:lstStyle/>
          <a:p>
            <a:r>
              <a:rPr lang="en-US" dirty="0"/>
              <a:t>Classical players</a:t>
            </a:r>
            <a:endParaRPr lang="en-NL" dirty="0"/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5B46EC74-807D-233A-F649-E5646F0A6001}"/>
              </a:ext>
            </a:extLst>
          </p:cNvPr>
          <p:cNvSpPr txBox="1">
            <a:spLocks/>
          </p:cNvSpPr>
          <p:nvPr/>
        </p:nvSpPr>
        <p:spPr>
          <a:xfrm>
            <a:off x="636878" y="4855604"/>
            <a:ext cx="1413762" cy="237464"/>
          </a:xfrm>
          <a:prstGeom prst="rect">
            <a:avLst/>
          </a:prstGeom>
        </p:spPr>
        <p:txBody>
          <a:bodyPr vert="horz" lIns="0" tIns="0" rIns="0" bIns="0" numCol="1" spcCol="270000" rtlCol="0">
            <a:noAutofit/>
          </a:bodyPr>
          <a:lstStyle>
            <a:lvl1pPr marL="144000" indent="-144000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•"/>
              <a:defRPr lang="en-US" sz="1400" b="0" i="0" kern="120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1pPr>
            <a:lvl2pPr marL="320040" indent="-137160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Calibri" panose="020F0502020204030204" pitchFamily="34" charset="0"/>
              <a:buChar char="–"/>
              <a:defRPr lang="en-US" sz="1200" b="0" i="0" kern="120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2pPr>
            <a:lvl3pPr marL="429768" indent="-107950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Calibri" panose="020F0502020204030204" pitchFamily="34" charset="0"/>
              <a:buChar char="•"/>
              <a:defRPr lang="en-US" sz="1050" b="0" i="0" kern="120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3pPr>
            <a:lvl4pPr marL="594360" indent="-137160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Calibri" panose="020F0502020204030204" pitchFamily="34" charset="0"/>
              <a:buChar char="–"/>
              <a:defRPr lang="en-US" sz="1000" b="0" i="0" kern="120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4pPr>
            <a:lvl5pPr marL="701675" indent="-107950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Calibri" panose="020F0502020204030204" pitchFamily="34" charset="0"/>
              <a:buChar char="•"/>
              <a:defRPr lang="en-IN" sz="1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nl-NL" dirty="0"/>
              <a:t>Claude Shannon</a:t>
            </a:r>
          </a:p>
        </p:txBody>
      </p:sp>
      <p:pic>
        <p:nvPicPr>
          <p:cNvPr id="19" name="Picture 4" descr="A Man in a Hurry: Claude Shannon's New York Years - IEEE Spectrum">
            <a:extLst>
              <a:ext uri="{FF2B5EF4-FFF2-40B4-BE49-F238E27FC236}">
                <a16:creationId xmlns:a16="http://schemas.microsoft.com/office/drawing/2014/main" id="{D2CA5A54-F39D-C7F5-EBB7-2D9211D8033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2096" y="2659255"/>
            <a:ext cx="1668544" cy="21963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21" name="Straight Arrow Connector 20">
            <a:extLst>
              <a:ext uri="{FF2B5EF4-FFF2-40B4-BE49-F238E27FC236}">
                <a16:creationId xmlns:a16="http://schemas.microsoft.com/office/drawing/2014/main" id="{27310674-8728-731C-7348-9F7C19501FC6}"/>
              </a:ext>
            </a:extLst>
          </p:cNvPr>
          <p:cNvCxnSpPr/>
          <p:nvPr/>
        </p:nvCxnSpPr>
        <p:spPr>
          <a:xfrm flipV="1">
            <a:off x="2300140" y="3638746"/>
            <a:ext cx="3101419" cy="8484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132094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 xmlns:a16="http://schemas.microsoft.com/office/drawing/2014/main">
      <p:transition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7AD0514E-7060-0B99-859A-F4694E7CDEE6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128095"/>
            <a:ext cx="9144000" cy="4887310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101FD451-9AA4-EA73-8819-3C57A3EF9C09}"/>
              </a:ext>
            </a:extLst>
          </p:cNvPr>
          <p:cNvSpPr/>
          <p:nvPr/>
        </p:nvSpPr>
        <p:spPr>
          <a:xfrm>
            <a:off x="3035429" y="1772239"/>
            <a:ext cx="6014301" cy="3158325"/>
          </a:xfrm>
          <a:prstGeom prst="rect">
            <a:avLst/>
          </a:prstGeom>
          <a:solidFill>
            <a:schemeClr val="tx2"/>
          </a:solidFill>
          <a:ln w="25400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tIns="46800" rIns="90000" bIns="46800" rtlCol="0" anchor="t"/>
          <a:lstStyle/>
          <a:p>
            <a:pPr>
              <a:spcAft>
                <a:spcPts val="600"/>
              </a:spcAft>
            </a:pPr>
            <a:r>
              <a:rPr lang="en-US" sz="1400" b="1" dirty="0">
                <a:solidFill>
                  <a:schemeClr val="bg1"/>
                </a:solidFill>
              </a:rPr>
              <a:t>Box rule:</a:t>
            </a:r>
          </a:p>
          <a:p>
            <a:pPr>
              <a:spcAft>
                <a:spcPts val="600"/>
              </a:spcAft>
            </a:pPr>
            <a:r>
              <a:rPr lang="en-US" sz="1400" dirty="0">
                <a:solidFill>
                  <a:schemeClr val="bg1"/>
                </a:solidFill>
              </a:rPr>
              <a:t>Box can be opened from the Top (T) or Side (S). This is destructive!</a:t>
            </a:r>
          </a:p>
          <a:p>
            <a:pPr>
              <a:spcAft>
                <a:spcPts val="600"/>
              </a:spcAft>
            </a:pPr>
            <a:r>
              <a:rPr lang="en-US" sz="1400" dirty="0">
                <a:solidFill>
                  <a:schemeClr val="bg1"/>
                </a:solidFill>
              </a:rPr>
              <a:t>Individually what they find in the box is random (e.g., Barbie or Ken with 50%)</a:t>
            </a:r>
          </a:p>
          <a:p>
            <a:pPr>
              <a:spcAft>
                <a:spcPts val="600"/>
              </a:spcAft>
            </a:pPr>
            <a:r>
              <a:rPr lang="en-US" sz="1400" dirty="0">
                <a:solidFill>
                  <a:schemeClr val="bg1"/>
                </a:solidFill>
              </a:rPr>
              <a:t>Alice and Bob always find the same present, </a:t>
            </a:r>
            <a:r>
              <a:rPr lang="en-US" sz="1400" u="sng" dirty="0">
                <a:solidFill>
                  <a:schemeClr val="bg1"/>
                </a:solidFill>
              </a:rPr>
              <a:t>except</a:t>
            </a:r>
            <a:r>
              <a:rPr lang="en-US" sz="1400" dirty="0">
                <a:solidFill>
                  <a:schemeClr val="bg1"/>
                </a:solidFill>
              </a:rPr>
              <a:t> when they both open from the top: Then they always find a different present</a:t>
            </a:r>
          </a:p>
          <a:p>
            <a:pPr>
              <a:spcAft>
                <a:spcPts val="600"/>
              </a:spcAft>
            </a:pPr>
            <a:r>
              <a:rPr lang="en-US" sz="1400" dirty="0">
                <a:solidFill>
                  <a:schemeClr val="bg1"/>
                </a:solidFill>
              </a:rPr>
              <a:t>Boxes come with a ‘quality’ K:</a:t>
            </a:r>
          </a:p>
          <a:p>
            <a:pPr marL="285750" indent="-285750">
              <a:spcAft>
                <a:spcPts val="600"/>
              </a:spcAft>
              <a:buFontTx/>
              <a:buChar char="-"/>
            </a:pPr>
            <a:r>
              <a:rPr lang="en-US" sz="1400" dirty="0">
                <a:solidFill>
                  <a:schemeClr val="bg1"/>
                </a:solidFill>
              </a:rPr>
              <a:t>K = 4: Boxes always obey the rule, </a:t>
            </a:r>
          </a:p>
          <a:p>
            <a:pPr marL="285750" indent="-285750">
              <a:spcAft>
                <a:spcPts val="600"/>
              </a:spcAft>
              <a:buFontTx/>
              <a:buChar char="-"/>
            </a:pPr>
            <a:r>
              <a:rPr lang="en-US" sz="1400" dirty="0">
                <a:solidFill>
                  <a:schemeClr val="bg1"/>
                </a:solidFill>
              </a:rPr>
              <a:t>K &lt; 4: P boxes obey and ‘1-P’ boxes deviate from the rule.</a:t>
            </a:r>
          </a:p>
          <a:p>
            <a:pPr marL="285750" indent="-285750">
              <a:spcAft>
                <a:spcPts val="600"/>
              </a:spcAft>
              <a:buFontTx/>
              <a:buChar char="-"/>
            </a:pPr>
            <a:r>
              <a:rPr lang="en-US" sz="1400" dirty="0">
                <a:solidFill>
                  <a:schemeClr val="bg1"/>
                </a:solidFill>
              </a:rPr>
              <a:t>K = 0: Boxes are random (P = 50%)</a:t>
            </a:r>
            <a:endParaRPr lang="en-NL" sz="1400" dirty="0" err="1">
              <a:solidFill>
                <a:schemeClr val="bg1"/>
              </a:solidFill>
            </a:endParaRP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AF74500D-C8C4-9538-7D29-6C8B93676127}"/>
              </a:ext>
            </a:extLst>
          </p:cNvPr>
          <p:cNvGrpSpPr/>
          <p:nvPr/>
        </p:nvGrpSpPr>
        <p:grpSpPr>
          <a:xfrm>
            <a:off x="3035430" y="4338297"/>
            <a:ext cx="6014301" cy="677108"/>
            <a:chOff x="3035430" y="4338297"/>
            <a:chExt cx="6014301" cy="677108"/>
          </a:xfrm>
        </p:grpSpPr>
        <mc:AlternateContent xmlns:mc="http://schemas.openxmlformats.org/markup-compatibility/2006">
          <mc:Choice xmlns:a14="http://schemas.microsoft.com/office/drawing/2010/main" Requires="a14">
            <p:sp>
              <p:nvSpPr>
                <p:cNvPr id="4" name="TextBox 3">
                  <a:extLst>
                    <a:ext uri="{FF2B5EF4-FFF2-40B4-BE49-F238E27FC236}">
                      <a16:creationId xmlns:a16="http://schemas.microsoft.com/office/drawing/2014/main" id="{69B21DB9-F20C-708F-05F0-F92326F77FDB}"/>
                    </a:ext>
                  </a:extLst>
                </p:cNvPr>
                <p:cNvSpPr txBox="1"/>
                <p:nvPr/>
              </p:nvSpPr>
              <p:spPr>
                <a:xfrm>
                  <a:off x="3035430" y="4676851"/>
                  <a:ext cx="6014301" cy="338554"/>
                </a:xfrm>
                <a:prstGeom prst="rect">
                  <a:avLst/>
                </a:prstGeom>
                <a:solidFill>
                  <a:srgbClr val="FFFF00"/>
                </a:solidFill>
                <a:ln>
                  <a:noFill/>
                </a:ln>
              </p:spPr>
              <p:txBody>
                <a:bodyPr wrap="square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a:rPr lang="en-US" sz="1600" b="1" i="0" smtClean="0">
                            <a:solidFill>
                              <a:srgbClr val="262626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𝐊</m:t>
                        </m:r>
                        <m:r>
                          <a:rPr lang="en-US" sz="1600" b="1" i="0" smtClean="0">
                            <a:solidFill>
                              <a:srgbClr val="262626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=|&lt;</m:t>
                        </m:r>
                        <m:r>
                          <a:rPr lang="en-US" sz="1600" b="1" i="1" smtClean="0">
                            <a:solidFill>
                              <a:srgbClr val="262626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𝑺𝑺</m:t>
                        </m:r>
                        <m:r>
                          <a:rPr lang="nl-NL" sz="1600" b="1" i="1">
                            <a:solidFill>
                              <a:srgbClr val="262626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&gt; </m:t>
                        </m:r>
                        <m:r>
                          <a:rPr lang="en-US" sz="1600" b="1" i="1" smtClean="0">
                            <a:solidFill>
                              <a:srgbClr val="262626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+</m:t>
                        </m:r>
                        <m:r>
                          <a:rPr lang="nl-NL" sz="1600" b="1" i="1">
                            <a:solidFill>
                              <a:srgbClr val="262626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&lt;</m:t>
                        </m:r>
                        <m:r>
                          <a:rPr lang="en-US" sz="1600" b="1" i="1" smtClean="0">
                            <a:solidFill>
                              <a:srgbClr val="262626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𝑺𝑻</m:t>
                        </m:r>
                        <m:r>
                          <a:rPr lang="nl-NL" sz="1600" b="1" i="1">
                            <a:solidFill>
                              <a:srgbClr val="262626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&gt; + &lt;</m:t>
                        </m:r>
                        <m:r>
                          <a:rPr lang="en-US" sz="1600" b="1" i="1" smtClean="0">
                            <a:solidFill>
                              <a:srgbClr val="262626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𝑻𝑺</m:t>
                        </m:r>
                        <m:r>
                          <a:rPr lang="nl-NL" sz="1600" b="1" i="1">
                            <a:solidFill>
                              <a:srgbClr val="262626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&gt; </m:t>
                        </m:r>
                        <m:r>
                          <a:rPr lang="en-US" sz="1600" b="1" i="1" smtClean="0">
                            <a:solidFill>
                              <a:srgbClr val="262626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− </m:t>
                        </m:r>
                        <m:r>
                          <a:rPr lang="nl-NL" sz="1600" b="1" i="1">
                            <a:solidFill>
                              <a:srgbClr val="262626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&lt;</m:t>
                        </m:r>
                        <m:r>
                          <a:rPr lang="en-US" sz="1600" b="1" i="1" smtClean="0">
                            <a:solidFill>
                              <a:srgbClr val="262626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𝑻𝑻</m:t>
                        </m:r>
                        <m:r>
                          <a:rPr lang="nl-NL" sz="1600" b="1" i="1">
                            <a:solidFill>
                              <a:srgbClr val="262626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&gt;</m:t>
                        </m:r>
                        <m:r>
                          <a:rPr lang="en-US" sz="1600" b="1" i="1" smtClean="0">
                            <a:solidFill>
                              <a:srgbClr val="262626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|</m:t>
                        </m:r>
                        <m:r>
                          <a:rPr lang="nl-NL" sz="1600" b="1" i="1">
                            <a:solidFill>
                              <a:srgbClr val="262626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 </m:t>
                        </m:r>
                      </m:oMath>
                    </m:oMathPara>
                  </a14:m>
                  <a:endParaRPr lang="en-NL" sz="1400" b="1" dirty="0"/>
                </a:p>
              </p:txBody>
            </p:sp>
          </mc:Choice>
          <mc:Fallback>
            <p:sp>
              <p:nvSpPr>
                <p:cNvPr id="4" name="TextBox 3">
                  <a:extLst>
                    <a:ext uri="{FF2B5EF4-FFF2-40B4-BE49-F238E27FC236}">
                      <a16:creationId xmlns:a16="http://schemas.microsoft.com/office/drawing/2014/main" id="{69B21DB9-F20C-708F-05F0-F92326F77FDB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3035430" y="4676851"/>
                  <a:ext cx="6014301" cy="338554"/>
                </a:xfrm>
                <a:prstGeom prst="rect">
                  <a:avLst/>
                </a:prstGeom>
                <a:blipFill>
                  <a:blip r:embed="rId4"/>
                  <a:stretch>
                    <a:fillRect b="-8929"/>
                  </a:stretch>
                </a:blipFill>
                <a:ln>
                  <a:noFill/>
                </a:ln>
              </p:spPr>
              <p:txBody>
                <a:bodyPr/>
                <a:lstStyle/>
                <a:p>
                  <a:r>
                    <a:rPr lang="en-NL">
                      <a:noFill/>
                    </a:rPr>
                    <a:t> </a:t>
                  </a:r>
                </a:p>
              </p:txBody>
            </p:sp>
          </mc:Fallback>
        </mc:AlternateContent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2E8B93CC-AF9A-210B-6646-222C3B2EB1BD}"/>
                </a:ext>
              </a:extLst>
            </p:cNvPr>
            <p:cNvSpPr/>
            <p:nvPr/>
          </p:nvSpPr>
          <p:spPr>
            <a:xfrm>
              <a:off x="3035430" y="4338297"/>
              <a:ext cx="6014301" cy="338554"/>
            </a:xfrm>
            <a:prstGeom prst="rect">
              <a:avLst/>
            </a:prstGeom>
            <a:solidFill>
              <a:srgbClr val="FFFF00"/>
            </a:solidFill>
            <a:ln w="25400" cap="flat" cmpd="sng" algn="ctr">
              <a:noFill/>
              <a:prstDash val="soli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0000" tIns="46800" rIns="90000" bIns="46800" rtlCol="0" anchor="ctr"/>
            <a:lstStyle/>
            <a:p>
              <a:pPr algn="ctr">
                <a:spcAft>
                  <a:spcPts val="600"/>
                </a:spcAft>
              </a:pPr>
              <a:r>
                <a:rPr lang="en-US" sz="1400" dirty="0">
                  <a:solidFill>
                    <a:schemeClr val="tx1"/>
                  </a:solidFill>
                </a:rPr>
                <a:t>The boxes do not contain information, and cannot be used to signal information</a:t>
              </a:r>
              <a:endParaRPr lang="en-NL" sz="1400" dirty="0" err="1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0803830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F08C9B0-580D-66C5-41BA-70DA6C110FB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485953C-996F-D60F-9E2D-E8882C4ACF89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A5163908-529D-4A49-892F-D37C4044DFD8}" type="slidenum">
              <a:rPr lang="en-US" smtClean="0"/>
              <a:pPr/>
              <a:t>5</a:t>
            </a:fld>
            <a:endParaRPr lang="en-US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803D25E8-C9D7-ECD1-E67A-00FC4C9F794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oundaries</a:t>
            </a:r>
            <a:endParaRPr lang="en-NL" dirty="0"/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9" name="TextBox 8">
                <a:extLst>
                  <a:ext uri="{FF2B5EF4-FFF2-40B4-BE49-F238E27FC236}">
                    <a16:creationId xmlns:a16="http://schemas.microsoft.com/office/drawing/2014/main" id="{C4392A75-51DC-5984-BA75-CE827AF2DFF4}"/>
                  </a:ext>
                </a:extLst>
              </p:cNvPr>
              <p:cNvSpPr txBox="1"/>
              <p:nvPr/>
            </p:nvSpPr>
            <p:spPr>
              <a:xfrm>
                <a:off x="1407732" y="792654"/>
                <a:ext cx="5865866" cy="338554"/>
              </a:xfrm>
              <a:prstGeom prst="rect">
                <a:avLst/>
              </a:prstGeom>
              <a:solidFill>
                <a:srgbClr val="FFFF00"/>
              </a:solidFill>
              <a:ln>
                <a:noFill/>
              </a:ln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600" b="1" i="0" smtClean="0">
                          <a:solidFill>
                            <a:srgbClr val="262626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𝐊</m:t>
                      </m:r>
                      <m:r>
                        <a:rPr lang="en-US" sz="1600" b="1" i="0" smtClean="0">
                          <a:solidFill>
                            <a:srgbClr val="262626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=|&lt;</m:t>
                      </m:r>
                      <m:r>
                        <a:rPr lang="en-US" sz="1600" b="1" i="1" smtClean="0">
                          <a:solidFill>
                            <a:srgbClr val="262626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𝑺𝑺</m:t>
                      </m:r>
                      <m:r>
                        <a:rPr lang="nl-NL" sz="1600" b="1" i="1">
                          <a:solidFill>
                            <a:srgbClr val="262626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&gt; </m:t>
                      </m:r>
                      <m:r>
                        <a:rPr lang="en-US" sz="1600" b="1" i="1" smtClean="0">
                          <a:solidFill>
                            <a:srgbClr val="262626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r>
                        <a:rPr lang="nl-NL" sz="1600" b="1" i="1">
                          <a:solidFill>
                            <a:srgbClr val="262626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&lt;</m:t>
                      </m:r>
                      <m:r>
                        <a:rPr lang="en-US" sz="1600" b="1" i="1" smtClean="0">
                          <a:solidFill>
                            <a:srgbClr val="262626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𝑺𝑻</m:t>
                      </m:r>
                      <m:r>
                        <a:rPr lang="nl-NL" sz="1600" b="1" i="1">
                          <a:solidFill>
                            <a:srgbClr val="262626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&gt; + &lt;</m:t>
                      </m:r>
                      <m:r>
                        <a:rPr lang="en-US" sz="1600" b="1" i="1" smtClean="0">
                          <a:solidFill>
                            <a:srgbClr val="262626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𝑻𝑺</m:t>
                      </m:r>
                      <m:r>
                        <a:rPr lang="nl-NL" sz="1600" b="1" i="1">
                          <a:solidFill>
                            <a:srgbClr val="262626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&gt; </m:t>
                      </m:r>
                      <m:r>
                        <a:rPr lang="en-US" sz="1600" b="1" i="1" smtClean="0">
                          <a:solidFill>
                            <a:srgbClr val="262626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 </m:t>
                      </m:r>
                      <m:r>
                        <a:rPr lang="nl-NL" sz="1600" b="1" i="1">
                          <a:solidFill>
                            <a:srgbClr val="262626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&lt;</m:t>
                      </m:r>
                      <m:r>
                        <a:rPr lang="en-US" sz="1600" b="1" i="1" smtClean="0">
                          <a:solidFill>
                            <a:srgbClr val="262626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𝑻𝑻</m:t>
                      </m:r>
                      <m:r>
                        <a:rPr lang="nl-NL" sz="1600" b="1" i="1">
                          <a:solidFill>
                            <a:srgbClr val="262626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&gt;</m:t>
                      </m:r>
                      <m:r>
                        <a:rPr lang="en-US" sz="1600" b="1" i="1" smtClean="0">
                          <a:solidFill>
                            <a:srgbClr val="262626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|</m:t>
                      </m:r>
                      <m:r>
                        <a:rPr lang="nl-NL" sz="1600" b="1" i="1">
                          <a:solidFill>
                            <a:srgbClr val="262626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</m:t>
                      </m:r>
                    </m:oMath>
                  </m:oMathPara>
                </a14:m>
                <a:endParaRPr lang="en-NL" sz="1400" b="1" dirty="0"/>
              </a:p>
            </p:txBody>
          </p:sp>
        </mc:Choice>
        <mc:Fallback>
          <p:sp>
            <p:nvSpPr>
              <p:cNvPr id="9" name="TextBox 8">
                <a:extLst>
                  <a:ext uri="{FF2B5EF4-FFF2-40B4-BE49-F238E27FC236}">
                    <a16:creationId xmlns:a16="http://schemas.microsoft.com/office/drawing/2014/main" id="{C4392A75-51DC-5984-BA75-CE827AF2DFF4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407732" y="792654"/>
                <a:ext cx="5865866" cy="338554"/>
              </a:xfrm>
              <a:prstGeom prst="rect">
                <a:avLst/>
              </a:prstGeom>
              <a:blipFill>
                <a:blip r:embed="rId3"/>
                <a:stretch>
                  <a:fillRect b="-8929"/>
                </a:stretch>
              </a:blipFill>
              <a:ln>
                <a:noFill/>
              </a:ln>
            </p:spPr>
            <p:txBody>
              <a:bodyPr/>
              <a:lstStyle/>
              <a:p>
                <a:r>
                  <a:rPr lang="en-NL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3F222089-26CF-9CC2-CB6B-B31D1706CCC0}"/>
              </a:ext>
            </a:extLst>
          </p:cNvPr>
          <p:cNvCxnSpPr>
            <a:cxnSpLocks/>
          </p:cNvCxnSpPr>
          <p:nvPr/>
        </p:nvCxnSpPr>
        <p:spPr>
          <a:xfrm>
            <a:off x="955407" y="2385138"/>
            <a:ext cx="7093529" cy="24733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0765DD65-49BA-3F61-A1E3-49EFD0BEB7FF}"/>
              </a:ext>
            </a:extLst>
          </p:cNvPr>
          <p:cNvCxnSpPr/>
          <p:nvPr/>
        </p:nvCxnSpPr>
        <p:spPr>
          <a:xfrm>
            <a:off x="955407" y="2283368"/>
            <a:ext cx="0" cy="207390"/>
          </a:xfrm>
          <a:prstGeom prst="line">
            <a:avLst/>
          </a:prstGeom>
          <a:ln w="38100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129DE2F5-A4F1-96BB-4586-BF0CC03B4B62}"/>
              </a:ext>
            </a:extLst>
          </p:cNvPr>
          <p:cNvCxnSpPr/>
          <p:nvPr/>
        </p:nvCxnSpPr>
        <p:spPr>
          <a:xfrm>
            <a:off x="8048936" y="2296156"/>
            <a:ext cx="0" cy="207390"/>
          </a:xfrm>
          <a:prstGeom prst="line">
            <a:avLst/>
          </a:prstGeom>
          <a:ln w="38100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27" name="Picture 4" descr="Box Good Ware Lineal icon">
            <a:extLst>
              <a:ext uri="{FF2B5EF4-FFF2-40B4-BE49-F238E27FC236}">
                <a16:creationId xmlns:a16="http://schemas.microsoft.com/office/drawing/2014/main" id="{384D3290-74F4-4C6E-5538-6895DB44851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5274" y="1248618"/>
            <a:ext cx="719137" cy="7191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0" name="TextBox 29">
            <a:extLst>
              <a:ext uri="{FF2B5EF4-FFF2-40B4-BE49-F238E27FC236}">
                <a16:creationId xmlns:a16="http://schemas.microsoft.com/office/drawing/2014/main" id="{F9B513BF-C19F-42D2-5BAF-00224935E85D}"/>
              </a:ext>
            </a:extLst>
          </p:cNvPr>
          <p:cNvSpPr txBox="1"/>
          <p:nvPr/>
        </p:nvSpPr>
        <p:spPr>
          <a:xfrm>
            <a:off x="42552" y="1844826"/>
            <a:ext cx="755633" cy="309958"/>
          </a:xfrm>
          <a:prstGeom prst="rect">
            <a:avLst/>
          </a:prstGeom>
          <a:noFill/>
          <a:ln>
            <a:noFill/>
          </a:ln>
        </p:spPr>
        <p:txBody>
          <a:bodyPr wrap="none" lIns="90000" tIns="46800" rIns="90000" bIns="46800" rtlCol="0">
            <a:spAutoFit/>
          </a:bodyPr>
          <a:lstStyle/>
          <a:p>
            <a:pPr marL="0" indent="0" algn="l">
              <a:spcAft>
                <a:spcPts val="600"/>
              </a:spcAft>
              <a:buSzPct val="75000"/>
              <a:buNone/>
            </a:pPr>
            <a:r>
              <a:rPr lang="en-US" sz="1400" dirty="0"/>
              <a:t>P = 50%</a:t>
            </a:r>
            <a:endParaRPr lang="en-NL" sz="1400" dirty="0"/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31" name="TextBox 30">
                <a:extLst>
                  <a:ext uri="{FF2B5EF4-FFF2-40B4-BE49-F238E27FC236}">
                    <a16:creationId xmlns:a16="http://schemas.microsoft.com/office/drawing/2014/main" id="{C8FAC299-7D87-46BE-DD13-8E273C559B80}"/>
                  </a:ext>
                </a:extLst>
              </p:cNvPr>
              <p:cNvSpPr txBox="1"/>
              <p:nvPr/>
            </p:nvSpPr>
            <p:spPr>
              <a:xfrm>
                <a:off x="42552" y="2233174"/>
                <a:ext cx="1213064" cy="307777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>
                <a:spAutoFit/>
              </a:bodyPr>
              <a:lstStyle/>
              <a:p>
                <a:pPr/>
                <a:r>
                  <a:rPr lang="en-US" sz="1400" b="1" dirty="0">
                    <a:solidFill>
                      <a:srgbClr val="262626"/>
                    </a:solidFill>
                    <a:ea typeface="Cambria Math" panose="02040503050406030204" pitchFamily="18" charset="0"/>
                  </a:rPr>
                  <a:t>K </a:t>
                </a:r>
                <a14:m>
                  <m:oMath xmlns:m="http://schemas.openxmlformats.org/officeDocument/2006/math">
                    <m:r>
                      <a:rPr lang="en-US" sz="1400" b="1" i="1" smtClean="0">
                        <a:solidFill>
                          <a:srgbClr val="262626"/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=</m:t>
                    </m:r>
                    <m:r>
                      <a:rPr lang="en-US" sz="1400" b="1" i="1" smtClean="0">
                        <a:solidFill>
                          <a:srgbClr val="262626"/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𝟎</m:t>
                    </m:r>
                  </m:oMath>
                </a14:m>
                <a:endParaRPr lang="en-NL" b="1" dirty="0"/>
              </a:p>
            </p:txBody>
          </p:sp>
        </mc:Choice>
        <mc:Fallback>
          <p:sp>
            <p:nvSpPr>
              <p:cNvPr id="31" name="TextBox 30">
                <a:extLst>
                  <a:ext uri="{FF2B5EF4-FFF2-40B4-BE49-F238E27FC236}">
                    <a16:creationId xmlns:a16="http://schemas.microsoft.com/office/drawing/2014/main" id="{C8FAC299-7D87-46BE-DD13-8E273C559B80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2552" y="2233174"/>
                <a:ext cx="1213064" cy="307777"/>
              </a:xfrm>
              <a:prstGeom prst="rect">
                <a:avLst/>
              </a:prstGeom>
              <a:blipFill>
                <a:blip r:embed="rId5"/>
                <a:stretch>
                  <a:fillRect l="-1508" t="-1961" b="-19608"/>
                </a:stretch>
              </a:blipFill>
              <a:ln>
                <a:noFill/>
              </a:ln>
            </p:spPr>
            <p:txBody>
              <a:bodyPr/>
              <a:lstStyle/>
              <a:p>
                <a:r>
                  <a:rPr lang="en-NL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>
        <mc:Choice xmlns:a14="http://schemas.microsoft.com/office/drawing/2010/main" Requires="a14">
          <p:sp>
            <p:nvSpPr>
              <p:cNvPr id="32" name="TextBox 31">
                <a:extLst>
                  <a:ext uri="{FF2B5EF4-FFF2-40B4-BE49-F238E27FC236}">
                    <a16:creationId xmlns:a16="http://schemas.microsoft.com/office/drawing/2014/main" id="{FE012C17-306A-2701-D31E-BB07645A036A}"/>
                  </a:ext>
                </a:extLst>
              </p:cNvPr>
              <p:cNvSpPr txBox="1"/>
              <p:nvPr/>
            </p:nvSpPr>
            <p:spPr>
              <a:xfrm>
                <a:off x="7967758" y="2254892"/>
                <a:ext cx="1210207" cy="309958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400" b="1" i="0" smtClean="0">
                          <a:solidFill>
                            <a:srgbClr val="262626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𝐊</m:t>
                      </m:r>
                      <m:r>
                        <a:rPr lang="en-US" sz="1400" b="1" i="1" smtClean="0">
                          <a:solidFill>
                            <a:srgbClr val="262626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=</m:t>
                      </m:r>
                      <m:r>
                        <a:rPr lang="en-US" sz="1400" b="1" i="1" smtClean="0">
                          <a:solidFill>
                            <a:srgbClr val="262626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𝟒</m:t>
                      </m:r>
                    </m:oMath>
                  </m:oMathPara>
                </a14:m>
                <a:endParaRPr lang="en-NL" b="1" dirty="0"/>
              </a:p>
            </p:txBody>
          </p:sp>
        </mc:Choice>
        <mc:Fallback>
          <p:sp>
            <p:nvSpPr>
              <p:cNvPr id="32" name="TextBox 31">
                <a:extLst>
                  <a:ext uri="{FF2B5EF4-FFF2-40B4-BE49-F238E27FC236}">
                    <a16:creationId xmlns:a16="http://schemas.microsoft.com/office/drawing/2014/main" id="{FE012C17-306A-2701-D31E-BB07645A036A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967758" y="2254892"/>
                <a:ext cx="1210207" cy="309958"/>
              </a:xfrm>
              <a:prstGeom prst="rect">
                <a:avLst/>
              </a:prstGeom>
              <a:blipFill>
                <a:blip r:embed="rId6"/>
                <a:stretch>
                  <a:fillRect/>
                </a:stretch>
              </a:blipFill>
              <a:ln>
                <a:noFill/>
              </a:ln>
            </p:spPr>
            <p:txBody>
              <a:bodyPr/>
              <a:lstStyle/>
              <a:p>
                <a:r>
                  <a:rPr lang="en-NL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34" name="Picture 4" descr="Box Good Ware Lineal icon">
            <a:extLst>
              <a:ext uri="{FF2B5EF4-FFF2-40B4-BE49-F238E27FC236}">
                <a16:creationId xmlns:a16="http://schemas.microsoft.com/office/drawing/2014/main" id="{537D3E12-6D57-9126-682A-65294EEC554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133779" y="1277041"/>
            <a:ext cx="719137" cy="7191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5" name="TextBox 34">
            <a:extLst>
              <a:ext uri="{FF2B5EF4-FFF2-40B4-BE49-F238E27FC236}">
                <a16:creationId xmlns:a16="http://schemas.microsoft.com/office/drawing/2014/main" id="{3009477E-7A12-5048-64E0-B55179306870}"/>
              </a:ext>
            </a:extLst>
          </p:cNvPr>
          <p:cNvSpPr txBox="1"/>
          <p:nvPr/>
        </p:nvSpPr>
        <p:spPr>
          <a:xfrm>
            <a:off x="8141057" y="1873249"/>
            <a:ext cx="847005" cy="309958"/>
          </a:xfrm>
          <a:prstGeom prst="rect">
            <a:avLst/>
          </a:prstGeom>
          <a:noFill/>
          <a:ln>
            <a:noFill/>
          </a:ln>
        </p:spPr>
        <p:txBody>
          <a:bodyPr wrap="none" lIns="90000" tIns="46800" rIns="90000" bIns="46800" rtlCol="0">
            <a:spAutoFit/>
          </a:bodyPr>
          <a:lstStyle/>
          <a:p>
            <a:pPr marL="0" indent="0" algn="l">
              <a:spcAft>
                <a:spcPts val="600"/>
              </a:spcAft>
              <a:buSzPct val="75000"/>
              <a:buNone/>
            </a:pPr>
            <a:r>
              <a:rPr lang="en-US" sz="1400" dirty="0"/>
              <a:t>P = 100%</a:t>
            </a:r>
            <a:endParaRPr lang="en-NL" sz="1400" dirty="0"/>
          </a:p>
        </p:txBody>
      </p:sp>
      <p:grpSp>
        <p:nvGrpSpPr>
          <p:cNvPr id="42" name="Group 41">
            <a:extLst>
              <a:ext uri="{FF2B5EF4-FFF2-40B4-BE49-F238E27FC236}">
                <a16:creationId xmlns:a16="http://schemas.microsoft.com/office/drawing/2014/main" id="{A8A70807-693D-CF3B-B6C1-66A3454ACAA3}"/>
              </a:ext>
            </a:extLst>
          </p:cNvPr>
          <p:cNvGrpSpPr/>
          <p:nvPr/>
        </p:nvGrpSpPr>
        <p:grpSpPr>
          <a:xfrm>
            <a:off x="-17494" y="1270739"/>
            <a:ext cx="4790650" cy="3872761"/>
            <a:chOff x="-17494" y="1270739"/>
            <a:chExt cx="4790650" cy="3872761"/>
          </a:xfrm>
        </p:grpSpPr>
        <p:sp>
          <p:nvSpPr>
            <p:cNvPr id="12" name="Oval 11">
              <a:extLst>
                <a:ext uri="{FF2B5EF4-FFF2-40B4-BE49-F238E27FC236}">
                  <a16:creationId xmlns:a16="http://schemas.microsoft.com/office/drawing/2014/main" id="{47A0F5EB-D062-B291-9280-01D2B46B5BDB}"/>
                </a:ext>
              </a:extLst>
            </p:cNvPr>
            <p:cNvSpPr/>
            <p:nvPr/>
          </p:nvSpPr>
          <p:spPr>
            <a:xfrm>
              <a:off x="2856322" y="2270580"/>
              <a:ext cx="232966" cy="232966"/>
            </a:xfrm>
            <a:prstGeom prst="ellipse">
              <a:avLst/>
            </a:prstGeom>
            <a:solidFill>
              <a:schemeClr val="tx1"/>
            </a:solidFill>
            <a:ln w="25400" cap="flat" cmpd="sng" algn="ctr">
              <a:noFill/>
              <a:prstDash val="soli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0000" tIns="46800" rIns="90000" bIns="46800" rtlCol="0" anchor="ctr"/>
            <a:lstStyle/>
            <a:p>
              <a:pPr algn="ctr">
                <a:spcAft>
                  <a:spcPts val="600"/>
                </a:spcAft>
              </a:pPr>
              <a:endParaRPr lang="en-NL" sz="1400" dirty="0" err="1">
                <a:solidFill>
                  <a:schemeClr val="bg1"/>
                </a:solidFill>
              </a:endParaRPr>
            </a:p>
          </p:txBody>
        </p:sp>
        <mc:AlternateContent xmlns:mc="http://schemas.openxmlformats.org/markup-compatibility/2006">
          <mc:Choice xmlns:a14="http://schemas.microsoft.com/office/drawing/2010/main" Requires="a14">
            <p:sp>
              <p:nvSpPr>
                <p:cNvPr id="15" name="TextBox 14">
                  <a:extLst>
                    <a:ext uri="{FF2B5EF4-FFF2-40B4-BE49-F238E27FC236}">
                      <a16:creationId xmlns:a16="http://schemas.microsoft.com/office/drawing/2014/main" id="{F436DFEF-94A5-DC4E-8A87-E1E241E90171}"/>
                    </a:ext>
                  </a:extLst>
                </p:cNvPr>
                <p:cNvSpPr txBox="1"/>
                <p:nvPr/>
              </p:nvSpPr>
              <p:spPr>
                <a:xfrm>
                  <a:off x="2119788" y="2440719"/>
                  <a:ext cx="802570" cy="307777"/>
                </a:xfrm>
                <a:prstGeom prst="rect">
                  <a:avLst/>
                </a:prstGeom>
                <a:noFill/>
                <a:ln>
                  <a:noFill/>
                </a:ln>
              </p:spPr>
              <p:txBody>
                <a:bodyPr wrap="square">
                  <a:spAutoFit/>
                </a:bodyPr>
                <a:lstStyle/>
                <a:p>
                  <a:pPr/>
                  <a:r>
                    <a:rPr lang="en-US" sz="1400" b="1" dirty="0">
                      <a:solidFill>
                        <a:srgbClr val="262626"/>
                      </a:solidFill>
                      <a:ea typeface="Cambria Math" panose="02040503050406030204" pitchFamily="18" charset="0"/>
                    </a:rPr>
                    <a:t>K </a:t>
                  </a:r>
                  <a14:m>
                    <m:oMath xmlns:m="http://schemas.openxmlformats.org/officeDocument/2006/math">
                      <m:r>
                        <a:rPr lang="en-US" sz="1400" b="1" i="1" smtClean="0">
                          <a:solidFill>
                            <a:srgbClr val="262626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≤</m:t>
                      </m:r>
                      <m:r>
                        <a:rPr lang="en-US" sz="1400" b="1" i="0" smtClean="0">
                          <a:solidFill>
                            <a:srgbClr val="262626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𝟐</m:t>
                      </m:r>
                    </m:oMath>
                  </a14:m>
                  <a:endParaRPr lang="en-NL" b="1" dirty="0"/>
                </a:p>
              </p:txBody>
            </p:sp>
          </mc:Choice>
          <mc:Fallback>
            <p:sp>
              <p:nvSpPr>
                <p:cNvPr id="15" name="TextBox 14">
                  <a:extLst>
                    <a:ext uri="{FF2B5EF4-FFF2-40B4-BE49-F238E27FC236}">
                      <a16:creationId xmlns:a16="http://schemas.microsoft.com/office/drawing/2014/main" id="{F436DFEF-94A5-DC4E-8A87-E1E241E90171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2119788" y="2440719"/>
                  <a:ext cx="802570" cy="307777"/>
                </a:xfrm>
                <a:prstGeom prst="rect">
                  <a:avLst/>
                </a:prstGeom>
                <a:blipFill>
                  <a:blip r:embed="rId7"/>
                  <a:stretch>
                    <a:fillRect l="-2290" t="-1961" b="-19608"/>
                  </a:stretch>
                </a:blipFill>
                <a:ln>
                  <a:noFill/>
                </a:ln>
              </p:spPr>
              <p:txBody>
                <a:bodyPr/>
                <a:lstStyle/>
                <a:p>
                  <a:r>
                    <a:rPr lang="en-NL">
                      <a:noFill/>
                    </a:rPr>
                    <a:t> </a:t>
                  </a:r>
                </a:p>
              </p:txBody>
            </p:sp>
          </mc:Fallback>
        </mc:AlternateContent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A886B9C5-1FB0-333E-74CF-BE86724DCBEC}"/>
                </a:ext>
              </a:extLst>
            </p:cNvPr>
            <p:cNvSpPr txBox="1"/>
            <p:nvPr/>
          </p:nvSpPr>
          <p:spPr>
            <a:xfrm>
              <a:off x="1317218" y="2120826"/>
              <a:ext cx="802569" cy="309958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90000" tIns="46800" rIns="90000" bIns="46800" rtlCol="0">
              <a:spAutoFit/>
            </a:bodyPr>
            <a:lstStyle/>
            <a:p>
              <a:pPr marL="0" indent="0" algn="l">
                <a:spcAft>
                  <a:spcPts val="600"/>
                </a:spcAft>
                <a:buSzPct val="75000"/>
                <a:buNone/>
              </a:pPr>
              <a:r>
                <a:rPr lang="en-US" sz="1400" i="1" dirty="0"/>
                <a:t>Classical</a:t>
              </a:r>
              <a:endParaRPr lang="en-NL" sz="1400" i="1" dirty="0"/>
            </a:p>
          </p:txBody>
        </p:sp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993D5E4A-9052-1F2C-E328-DBEECDA715D3}"/>
                </a:ext>
              </a:extLst>
            </p:cNvPr>
            <p:cNvSpPr txBox="1"/>
            <p:nvPr/>
          </p:nvSpPr>
          <p:spPr>
            <a:xfrm>
              <a:off x="3898965" y="2110890"/>
              <a:ext cx="874191" cy="309958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90000" tIns="46800" rIns="90000" bIns="46800" rtlCol="0">
              <a:spAutoFit/>
            </a:bodyPr>
            <a:lstStyle/>
            <a:p>
              <a:pPr marL="0" indent="0" algn="l">
                <a:spcAft>
                  <a:spcPts val="600"/>
                </a:spcAft>
                <a:buSzPct val="75000"/>
                <a:buNone/>
              </a:pPr>
              <a:r>
                <a:rPr lang="en-US" sz="1400" i="1" dirty="0"/>
                <a:t>Quantum</a:t>
              </a:r>
              <a:endParaRPr lang="en-NL" sz="1400" i="1" dirty="0"/>
            </a:p>
          </p:txBody>
        </p:sp>
        <p:sp>
          <p:nvSpPr>
            <p:cNvPr id="14" name="Speech Bubble: Rectangle with Corners Rounded 13">
              <a:extLst>
                <a:ext uri="{FF2B5EF4-FFF2-40B4-BE49-F238E27FC236}">
                  <a16:creationId xmlns:a16="http://schemas.microsoft.com/office/drawing/2014/main" id="{217D84BA-5E70-51FB-7F36-932829120D1B}"/>
                </a:ext>
              </a:extLst>
            </p:cNvPr>
            <p:cNvSpPr/>
            <p:nvPr/>
          </p:nvSpPr>
          <p:spPr>
            <a:xfrm>
              <a:off x="1717931" y="3867696"/>
              <a:ext cx="1655973" cy="973679"/>
            </a:xfrm>
            <a:prstGeom prst="wedgeRoundRectCallout">
              <a:avLst>
                <a:gd name="adj1" fmla="val 24910"/>
                <a:gd name="adj2" fmla="val -186251"/>
                <a:gd name="adj3" fmla="val 16667"/>
              </a:avLst>
            </a:prstGeom>
            <a:solidFill>
              <a:schemeClr val="tx2"/>
            </a:solidFill>
            <a:ln w="25400" cap="flat" cmpd="sng" algn="ctr">
              <a:noFill/>
              <a:prstDash val="soli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0000" tIns="46800" rIns="90000" bIns="46800" rtlCol="0" anchor="ctr"/>
            <a:lstStyle/>
            <a:p>
              <a:pPr algn="ctr">
                <a:spcAft>
                  <a:spcPts val="600"/>
                </a:spcAft>
              </a:pPr>
              <a:r>
                <a:rPr lang="en-US" sz="1400" dirty="0">
                  <a:solidFill>
                    <a:schemeClr val="bg1"/>
                  </a:solidFill>
                </a:rPr>
                <a:t>Bell inequality</a:t>
              </a:r>
              <a:endParaRPr lang="en-NL" sz="1400" dirty="0" err="1">
                <a:solidFill>
                  <a:schemeClr val="bg1"/>
                </a:solidFill>
              </a:endParaRPr>
            </a:p>
          </p:txBody>
        </p:sp>
        <p:pic>
          <p:nvPicPr>
            <p:cNvPr id="3074" name="Picture 2">
              <a:extLst>
                <a:ext uri="{FF2B5EF4-FFF2-40B4-BE49-F238E27FC236}">
                  <a16:creationId xmlns:a16="http://schemas.microsoft.com/office/drawing/2014/main" id="{EF8BB332-3142-8A37-B56C-7C17F7C56969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-17494" y="2742670"/>
              <a:ext cx="1655974" cy="240083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8" name="Picture 4" descr="Box Good Ware Lineal icon">
              <a:extLst>
                <a:ext uri="{FF2B5EF4-FFF2-40B4-BE49-F238E27FC236}">
                  <a16:creationId xmlns:a16="http://schemas.microsoft.com/office/drawing/2014/main" id="{49DE157A-1D02-C3A8-1EE6-CA4050E645DC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651206" y="1270739"/>
              <a:ext cx="719137" cy="71913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9" name="TextBox 38">
              <a:extLst>
                <a:ext uri="{FF2B5EF4-FFF2-40B4-BE49-F238E27FC236}">
                  <a16:creationId xmlns:a16="http://schemas.microsoft.com/office/drawing/2014/main" id="{02EC5E8D-1785-9259-2B4A-7604D8B214D3}"/>
                </a:ext>
              </a:extLst>
            </p:cNvPr>
            <p:cNvSpPr txBox="1"/>
            <p:nvPr/>
          </p:nvSpPr>
          <p:spPr>
            <a:xfrm>
              <a:off x="2635956" y="1866947"/>
              <a:ext cx="755633" cy="309958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90000" tIns="46800" rIns="90000" bIns="46800" rtlCol="0">
              <a:spAutoFit/>
            </a:bodyPr>
            <a:lstStyle/>
            <a:p>
              <a:pPr marL="0" indent="0" algn="l">
                <a:spcAft>
                  <a:spcPts val="600"/>
                </a:spcAft>
                <a:buSzPct val="75000"/>
                <a:buNone/>
              </a:pPr>
              <a:r>
                <a:rPr lang="en-US" sz="1400" dirty="0"/>
                <a:t>P = 75%</a:t>
              </a:r>
              <a:endParaRPr lang="en-NL" sz="1400" dirty="0"/>
            </a:p>
          </p:txBody>
        </p:sp>
      </p:grpSp>
      <p:grpSp>
        <p:nvGrpSpPr>
          <p:cNvPr id="43" name="Group 42">
            <a:extLst>
              <a:ext uri="{FF2B5EF4-FFF2-40B4-BE49-F238E27FC236}">
                <a16:creationId xmlns:a16="http://schemas.microsoft.com/office/drawing/2014/main" id="{41DD5AC6-586E-123C-B486-62111864290E}"/>
              </a:ext>
            </a:extLst>
          </p:cNvPr>
          <p:cNvGrpSpPr/>
          <p:nvPr/>
        </p:nvGrpSpPr>
        <p:grpSpPr>
          <a:xfrm>
            <a:off x="3453355" y="1270739"/>
            <a:ext cx="5702958" cy="3876738"/>
            <a:chOff x="3453355" y="1270739"/>
            <a:chExt cx="5702958" cy="3876738"/>
          </a:xfrm>
        </p:grpSpPr>
        <p:sp>
          <p:nvSpPr>
            <p:cNvPr id="13" name="Oval 12">
              <a:extLst>
                <a:ext uri="{FF2B5EF4-FFF2-40B4-BE49-F238E27FC236}">
                  <a16:creationId xmlns:a16="http://schemas.microsoft.com/office/drawing/2014/main" id="{C59E68B1-7B83-6789-C3E2-811F172A008E}"/>
                </a:ext>
              </a:extLst>
            </p:cNvPr>
            <p:cNvSpPr/>
            <p:nvPr/>
          </p:nvSpPr>
          <p:spPr>
            <a:xfrm>
              <a:off x="5912177" y="2270580"/>
              <a:ext cx="232966" cy="232966"/>
            </a:xfrm>
            <a:prstGeom prst="ellipse">
              <a:avLst/>
            </a:prstGeom>
            <a:solidFill>
              <a:schemeClr val="tx1"/>
            </a:solidFill>
            <a:ln w="25400" cap="flat" cmpd="sng" algn="ctr">
              <a:noFill/>
              <a:prstDash val="soli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0000" tIns="46800" rIns="90000" bIns="46800" rtlCol="0" anchor="ctr"/>
            <a:lstStyle/>
            <a:p>
              <a:pPr algn="ctr">
                <a:spcAft>
                  <a:spcPts val="600"/>
                </a:spcAft>
              </a:pPr>
              <a:endParaRPr lang="en-NL" sz="1400" dirty="0" err="1">
                <a:solidFill>
                  <a:schemeClr val="bg1"/>
                </a:solidFill>
              </a:endParaRPr>
            </a:p>
          </p:txBody>
        </p:sp>
        <mc:AlternateContent xmlns:mc="http://schemas.openxmlformats.org/markup-compatibility/2006">
          <mc:Choice xmlns:a14="http://schemas.microsoft.com/office/drawing/2010/main" Requires="a14">
            <p:sp>
              <p:nvSpPr>
                <p:cNvPr id="16" name="TextBox 15">
                  <a:extLst>
                    <a:ext uri="{FF2B5EF4-FFF2-40B4-BE49-F238E27FC236}">
                      <a16:creationId xmlns:a16="http://schemas.microsoft.com/office/drawing/2014/main" id="{4E699C54-4EE8-AC7F-CEAB-0AC2F493F0D0}"/>
                    </a:ext>
                  </a:extLst>
                </p:cNvPr>
                <p:cNvSpPr txBox="1"/>
                <p:nvPr/>
              </p:nvSpPr>
              <p:spPr>
                <a:xfrm>
                  <a:off x="3453355" y="2448566"/>
                  <a:ext cx="1655973" cy="333168"/>
                </a:xfrm>
                <a:prstGeom prst="rect">
                  <a:avLst/>
                </a:prstGeom>
                <a:noFill/>
                <a:ln>
                  <a:noFill/>
                </a:ln>
              </p:spPr>
              <p:txBody>
                <a:bodyPr wrap="square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a:rPr lang="en-US" sz="1400" b="1" i="0" smtClean="0">
                            <a:solidFill>
                              <a:srgbClr val="262626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𝟐</m:t>
                        </m:r>
                        <m:r>
                          <a:rPr lang="en-US" sz="1400" b="1" i="0" smtClean="0">
                            <a:solidFill>
                              <a:srgbClr val="262626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&lt;</m:t>
                        </m:r>
                        <m:r>
                          <a:rPr lang="en-US" sz="1400" b="1" i="0" smtClean="0">
                            <a:solidFill>
                              <a:srgbClr val="262626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𝐊</m:t>
                        </m:r>
                        <m:r>
                          <a:rPr lang="en-US" sz="1400" b="1" i="1" smtClean="0">
                            <a:solidFill>
                              <a:srgbClr val="262626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≤</m:t>
                        </m:r>
                        <m:r>
                          <a:rPr lang="en-US" sz="1400" b="1" i="0" smtClean="0">
                            <a:solidFill>
                              <a:srgbClr val="262626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𝟐</m:t>
                        </m:r>
                        <m:rad>
                          <m:radPr>
                            <m:degHide m:val="on"/>
                            <m:ctrlPr>
                              <a:rPr lang="en-US" sz="1400" b="1" i="1" smtClean="0">
                                <a:solidFill>
                                  <a:srgbClr val="262626"/>
                                </a:solidFill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</m:ctrlPr>
                          </m:radPr>
                          <m:deg/>
                          <m:e>
                            <m:r>
                              <a:rPr lang="en-US" sz="1400" b="1" i="1" smtClean="0">
                                <a:solidFill>
                                  <a:srgbClr val="262626"/>
                                </a:solidFill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𝟐</m:t>
                            </m:r>
                          </m:e>
                        </m:rad>
                      </m:oMath>
                    </m:oMathPara>
                  </a14:m>
                  <a:endParaRPr lang="en-NL" b="1" dirty="0"/>
                </a:p>
              </p:txBody>
            </p:sp>
          </mc:Choice>
          <mc:Fallback>
            <p:sp>
              <p:nvSpPr>
                <p:cNvPr id="16" name="TextBox 15">
                  <a:extLst>
                    <a:ext uri="{FF2B5EF4-FFF2-40B4-BE49-F238E27FC236}">
                      <a16:creationId xmlns:a16="http://schemas.microsoft.com/office/drawing/2014/main" id="{4E699C54-4EE8-AC7F-CEAB-0AC2F493F0D0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3453355" y="2448566"/>
                  <a:ext cx="1655973" cy="333168"/>
                </a:xfrm>
                <a:prstGeom prst="rect">
                  <a:avLst/>
                </a:prstGeom>
                <a:blipFill>
                  <a:blip r:embed="rId9"/>
                  <a:stretch>
                    <a:fillRect/>
                  </a:stretch>
                </a:blipFill>
                <a:ln>
                  <a:noFill/>
                </a:ln>
              </p:spPr>
              <p:txBody>
                <a:bodyPr/>
                <a:lstStyle/>
                <a:p>
                  <a:r>
                    <a:rPr lang="en-NL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>
          <mc:Choice xmlns:a14="http://schemas.microsoft.com/office/drawing/2010/main" Requires="a14">
            <p:sp>
              <p:nvSpPr>
                <p:cNvPr id="17" name="TextBox 16">
                  <a:extLst>
                    <a:ext uri="{FF2B5EF4-FFF2-40B4-BE49-F238E27FC236}">
                      <a16:creationId xmlns:a16="http://schemas.microsoft.com/office/drawing/2014/main" id="{EF6FC67E-43F6-DC7C-5255-B53841D3AFBA}"/>
                    </a:ext>
                  </a:extLst>
                </p:cNvPr>
                <p:cNvSpPr txBox="1"/>
                <p:nvPr/>
              </p:nvSpPr>
              <p:spPr>
                <a:xfrm>
                  <a:off x="6226403" y="2448566"/>
                  <a:ext cx="1655973" cy="333168"/>
                </a:xfrm>
                <a:prstGeom prst="rect">
                  <a:avLst/>
                </a:prstGeom>
                <a:noFill/>
                <a:ln>
                  <a:noFill/>
                </a:ln>
              </p:spPr>
              <p:txBody>
                <a:bodyPr wrap="square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a:rPr lang="en-US" sz="1400" b="1" i="1" smtClean="0">
                            <a:solidFill>
                              <a:srgbClr val="262626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𝟐</m:t>
                        </m:r>
                        <m:rad>
                          <m:radPr>
                            <m:degHide m:val="on"/>
                            <m:ctrlPr>
                              <a:rPr lang="en-US" sz="1400" b="1" i="1">
                                <a:solidFill>
                                  <a:srgbClr val="262626"/>
                                </a:solidFill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</m:ctrlPr>
                          </m:radPr>
                          <m:deg/>
                          <m:e>
                            <m:r>
                              <a:rPr lang="en-US" sz="1400" b="1" i="1">
                                <a:solidFill>
                                  <a:srgbClr val="262626"/>
                                </a:solidFill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𝟐</m:t>
                            </m:r>
                          </m:e>
                        </m:rad>
                        <m:r>
                          <a:rPr lang="en-US" sz="1400" b="1" i="0" smtClean="0">
                            <a:solidFill>
                              <a:srgbClr val="262626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&lt;</m:t>
                        </m:r>
                        <m:r>
                          <a:rPr lang="en-US" sz="1400" b="1" i="0" smtClean="0">
                            <a:solidFill>
                              <a:srgbClr val="262626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𝐊</m:t>
                        </m:r>
                        <m:r>
                          <a:rPr lang="en-US" sz="1400" b="1" i="1" smtClean="0">
                            <a:solidFill>
                              <a:srgbClr val="262626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≤</m:t>
                        </m:r>
                        <m:r>
                          <a:rPr lang="en-US" sz="1400" b="1" i="0" smtClean="0">
                            <a:solidFill>
                              <a:srgbClr val="262626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𝟒</m:t>
                        </m:r>
                      </m:oMath>
                    </m:oMathPara>
                  </a14:m>
                  <a:endParaRPr lang="en-NL" b="1" dirty="0"/>
                </a:p>
              </p:txBody>
            </p:sp>
          </mc:Choice>
          <mc:Fallback>
            <p:sp>
              <p:nvSpPr>
                <p:cNvPr id="17" name="TextBox 16">
                  <a:extLst>
                    <a:ext uri="{FF2B5EF4-FFF2-40B4-BE49-F238E27FC236}">
                      <a16:creationId xmlns:a16="http://schemas.microsoft.com/office/drawing/2014/main" id="{EF6FC67E-43F6-DC7C-5255-B53841D3AFBA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6226403" y="2448566"/>
                  <a:ext cx="1655973" cy="333168"/>
                </a:xfrm>
                <a:prstGeom prst="rect">
                  <a:avLst/>
                </a:prstGeom>
                <a:blipFill>
                  <a:blip r:embed="rId10"/>
                  <a:stretch>
                    <a:fillRect/>
                  </a:stretch>
                </a:blipFill>
                <a:ln>
                  <a:noFill/>
                </a:ln>
              </p:spPr>
              <p:txBody>
                <a:bodyPr/>
                <a:lstStyle/>
                <a:p>
                  <a:r>
                    <a:rPr lang="en-NL">
                      <a:noFill/>
                    </a:rPr>
                    <a:t> </a:t>
                  </a:r>
                </a:p>
              </p:txBody>
            </p:sp>
          </mc:Fallback>
        </mc:AlternateContent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660ACBCF-683C-D769-0930-B6ECE1A7B58D}"/>
                </a:ext>
              </a:extLst>
            </p:cNvPr>
            <p:cNvSpPr txBox="1"/>
            <p:nvPr/>
          </p:nvSpPr>
          <p:spPr>
            <a:xfrm>
              <a:off x="6404263" y="2121387"/>
              <a:ext cx="1242113" cy="309958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90000" tIns="46800" rIns="90000" bIns="46800" rtlCol="0">
              <a:spAutoFit/>
            </a:bodyPr>
            <a:lstStyle/>
            <a:p>
              <a:pPr marL="0" indent="0" algn="l">
                <a:spcAft>
                  <a:spcPts val="600"/>
                </a:spcAft>
                <a:buSzPct val="75000"/>
                <a:buNone/>
              </a:pPr>
              <a:r>
                <a:rPr lang="en-US" sz="1400" i="1" dirty="0"/>
                <a:t>Post-Quantum</a:t>
              </a:r>
              <a:endParaRPr lang="en-NL" sz="1400" i="1" dirty="0"/>
            </a:p>
          </p:txBody>
        </p:sp>
        <p:sp>
          <p:nvSpPr>
            <p:cNvPr id="22" name="Speech Bubble: Rectangle with Corners Rounded 21">
              <a:extLst>
                <a:ext uri="{FF2B5EF4-FFF2-40B4-BE49-F238E27FC236}">
                  <a16:creationId xmlns:a16="http://schemas.microsoft.com/office/drawing/2014/main" id="{155F5620-382E-0085-2CBA-33F28D79447E}"/>
                </a:ext>
              </a:extLst>
            </p:cNvPr>
            <p:cNvSpPr/>
            <p:nvPr/>
          </p:nvSpPr>
          <p:spPr>
            <a:xfrm>
              <a:off x="5991044" y="3871056"/>
              <a:ext cx="1655973" cy="973678"/>
            </a:xfrm>
            <a:prstGeom prst="wedgeRoundRectCallout">
              <a:avLst>
                <a:gd name="adj1" fmla="val -47139"/>
                <a:gd name="adj2" fmla="val -186267"/>
                <a:gd name="adj3" fmla="val 16667"/>
              </a:avLst>
            </a:prstGeom>
            <a:solidFill>
              <a:schemeClr val="tx2"/>
            </a:solidFill>
            <a:ln w="25400" cap="flat" cmpd="sng" algn="ctr">
              <a:noFill/>
              <a:prstDash val="soli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0000" tIns="46800" rIns="90000" bIns="46800" rtlCol="0" anchor="ctr"/>
            <a:lstStyle/>
            <a:p>
              <a:pPr algn="ctr">
                <a:spcAft>
                  <a:spcPts val="600"/>
                </a:spcAft>
              </a:pPr>
              <a:r>
                <a:rPr lang="en-US" sz="1400" dirty="0" err="1">
                  <a:solidFill>
                    <a:schemeClr val="bg1"/>
                  </a:solidFill>
                </a:rPr>
                <a:t>Tsirelson</a:t>
              </a:r>
              <a:r>
                <a:rPr lang="en-US" sz="1400" dirty="0">
                  <a:solidFill>
                    <a:schemeClr val="bg1"/>
                  </a:solidFill>
                </a:rPr>
                <a:t> bound</a:t>
              </a:r>
              <a:endParaRPr lang="en-NL" sz="1400" dirty="0" err="1">
                <a:solidFill>
                  <a:schemeClr val="bg1"/>
                </a:solidFill>
              </a:endParaRPr>
            </a:p>
          </p:txBody>
        </p:sp>
        <p:pic>
          <p:nvPicPr>
            <p:cNvPr id="25" name="Picture 2">
              <a:extLst>
                <a:ext uri="{FF2B5EF4-FFF2-40B4-BE49-F238E27FC236}">
                  <a16:creationId xmlns:a16="http://schemas.microsoft.com/office/drawing/2014/main" id="{4669AD71-40C2-AB12-3F95-C9FE7FD3D1D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726468" y="2781734"/>
              <a:ext cx="1429845" cy="236574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0" name="Picture 4" descr="Box Good Ware Lineal icon">
              <a:extLst>
                <a:ext uri="{FF2B5EF4-FFF2-40B4-BE49-F238E27FC236}">
                  <a16:creationId xmlns:a16="http://schemas.microsoft.com/office/drawing/2014/main" id="{93449032-5F55-A840-99B0-E06EE05B985F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659600" y="1270739"/>
              <a:ext cx="719137" cy="71913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41" name="TextBox 40">
              <a:extLst>
                <a:ext uri="{FF2B5EF4-FFF2-40B4-BE49-F238E27FC236}">
                  <a16:creationId xmlns:a16="http://schemas.microsoft.com/office/drawing/2014/main" id="{60C1CC41-E15E-48F8-8ADD-6969883B0371}"/>
                </a:ext>
              </a:extLst>
            </p:cNvPr>
            <p:cNvSpPr txBox="1"/>
            <p:nvPr/>
          </p:nvSpPr>
          <p:spPr>
            <a:xfrm>
              <a:off x="5666878" y="1866947"/>
              <a:ext cx="755633" cy="309958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90000" tIns="46800" rIns="90000" bIns="46800" rtlCol="0">
              <a:spAutoFit/>
            </a:bodyPr>
            <a:lstStyle/>
            <a:p>
              <a:pPr marL="0" indent="0" algn="l">
                <a:spcAft>
                  <a:spcPts val="600"/>
                </a:spcAft>
                <a:buSzPct val="75000"/>
                <a:buNone/>
              </a:pPr>
              <a:r>
                <a:rPr lang="en-US" sz="1400" dirty="0"/>
                <a:t>P = 85%</a:t>
              </a:r>
              <a:endParaRPr lang="en-NL" sz="1400" dirty="0"/>
            </a:p>
          </p:txBody>
        </p:sp>
      </p:grpSp>
    </p:spTree>
    <p:extLst>
      <p:ext uri="{BB962C8B-B14F-4D97-AF65-F5344CB8AC3E}">
        <p14:creationId xmlns:p14="http://schemas.microsoft.com/office/powerpoint/2010/main" val="1618148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 xmlns:a16="http://schemas.microsoft.com/office/drawing/2014/main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333E31BF-54CF-C948-CCEB-D06FF9461FCD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A5163908-529D-4A49-892F-D37C4044DFD8}" type="slidenum">
              <a:rPr lang="en-US" smtClean="0"/>
              <a:pPr/>
              <a:t>6</a:t>
            </a:fld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164782B9-A8E8-9B61-FCD2-FD0FDF478F3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005695" y="0"/>
            <a:ext cx="5138305" cy="5143500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6D34946E-3B80-DEA0-B9F8-C4F883D1B481}"/>
              </a:ext>
            </a:extLst>
          </p:cNvPr>
          <p:cNvSpPr/>
          <p:nvPr/>
        </p:nvSpPr>
        <p:spPr>
          <a:xfrm>
            <a:off x="8173039" y="480767"/>
            <a:ext cx="716437" cy="4457276"/>
          </a:xfrm>
          <a:prstGeom prst="rect">
            <a:avLst/>
          </a:prstGeom>
          <a:solidFill>
            <a:srgbClr val="1F77B4"/>
          </a:solidFill>
          <a:ln w="25400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tIns="46800" rIns="90000" bIns="46800" rtlCol="0" anchor="ctr"/>
          <a:lstStyle/>
          <a:p>
            <a:pPr algn="ctr">
              <a:spcAft>
                <a:spcPts val="600"/>
              </a:spcAft>
            </a:pPr>
            <a:endParaRPr lang="en-NL" sz="1400" dirty="0" err="1">
              <a:solidFill>
                <a:schemeClr val="bg1"/>
              </a:solidFill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CB280B05-B1F3-945B-E1A0-8781AC0169EC}"/>
              </a:ext>
            </a:extLst>
          </p:cNvPr>
          <p:cNvSpPr txBox="1"/>
          <p:nvPr/>
        </p:nvSpPr>
        <p:spPr>
          <a:xfrm>
            <a:off x="382096" y="967464"/>
            <a:ext cx="3360345" cy="1546577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r>
              <a:rPr lang="nl-NL" dirty="0" err="1">
                <a:sym typeface="Wingdings" panose="05000000000000000000" pitchFamily="2" charset="2"/>
              </a:rPr>
              <a:t>AI’s</a:t>
            </a:r>
            <a:r>
              <a:rPr lang="nl-NL" dirty="0">
                <a:sym typeface="Wingdings" panose="05000000000000000000" pitchFamily="2" charset="2"/>
              </a:rPr>
              <a:t> </a:t>
            </a:r>
            <a:r>
              <a:rPr lang="nl-NL" dirty="0" err="1">
                <a:sym typeface="Wingdings" panose="05000000000000000000" pitchFamily="2" charset="2"/>
              </a:rPr>
              <a:t>that</a:t>
            </a:r>
            <a:r>
              <a:rPr lang="nl-NL" dirty="0">
                <a:sym typeface="Wingdings" panose="05000000000000000000" pitchFamily="2" charset="2"/>
              </a:rPr>
              <a:t> combine ‘standard’ </a:t>
            </a:r>
            <a:r>
              <a:rPr lang="nl-NL" dirty="0" err="1">
                <a:sym typeface="Wingdings" panose="05000000000000000000" pitchFamily="2" charset="2"/>
              </a:rPr>
              <a:t>layers</a:t>
            </a:r>
            <a:r>
              <a:rPr lang="nl-NL" dirty="0">
                <a:sym typeface="Wingdings" panose="05000000000000000000" pitchFamily="2" charset="2"/>
              </a:rPr>
              <a:t> </a:t>
            </a:r>
            <a:r>
              <a:rPr lang="nl-NL" dirty="0" err="1">
                <a:sym typeface="Wingdings" panose="05000000000000000000" pitchFamily="2" charset="2"/>
              </a:rPr>
              <a:t>with</a:t>
            </a:r>
            <a:endParaRPr lang="nl-NL" dirty="0">
              <a:sym typeface="Wingdings" panose="05000000000000000000" pitchFamily="2" charset="2"/>
            </a:endParaRPr>
          </a:p>
          <a:p>
            <a:r>
              <a:rPr lang="nl-NL" dirty="0">
                <a:sym typeface="Wingdings" panose="05000000000000000000" pitchFamily="2" charset="2"/>
              </a:rPr>
              <a:t>‘</a:t>
            </a:r>
            <a:r>
              <a:rPr lang="nl-NL" dirty="0" err="1">
                <a:sym typeface="Wingdings" panose="05000000000000000000" pitchFamily="2" charset="2"/>
              </a:rPr>
              <a:t>entangled</a:t>
            </a:r>
            <a:r>
              <a:rPr lang="nl-NL" dirty="0">
                <a:sym typeface="Wingdings" panose="05000000000000000000" pitchFamily="2" charset="2"/>
              </a:rPr>
              <a:t>’ </a:t>
            </a:r>
            <a:r>
              <a:rPr lang="nl-NL" dirty="0" err="1">
                <a:sym typeface="Wingdings" panose="05000000000000000000" pitchFamily="2" charset="2"/>
              </a:rPr>
              <a:t>layers</a:t>
            </a:r>
            <a:r>
              <a:rPr lang="nl-NL" dirty="0">
                <a:sym typeface="Wingdings" panose="05000000000000000000" pitchFamily="2" charset="2"/>
              </a:rPr>
              <a:t> (</a:t>
            </a:r>
            <a:r>
              <a:rPr lang="nl-NL" dirty="0" err="1">
                <a:sym typeface="Wingdings" panose="05000000000000000000" pitchFamily="2" charset="2"/>
              </a:rPr>
              <a:t>consisting</a:t>
            </a:r>
            <a:r>
              <a:rPr lang="nl-NL" dirty="0">
                <a:sym typeface="Wingdings" panose="05000000000000000000" pitchFamily="2" charset="2"/>
              </a:rPr>
              <a:t> of </a:t>
            </a:r>
            <a:r>
              <a:rPr lang="nl-NL" dirty="0" err="1">
                <a:sym typeface="Wingdings" panose="05000000000000000000" pitchFamily="2" charset="2"/>
              </a:rPr>
              <a:t>our</a:t>
            </a:r>
            <a:r>
              <a:rPr lang="nl-NL" dirty="0">
                <a:sym typeface="Wingdings" panose="05000000000000000000" pitchFamily="2" charset="2"/>
              </a:rPr>
              <a:t> ‘</a:t>
            </a:r>
            <a:r>
              <a:rPr lang="nl-NL" dirty="0" err="1">
                <a:sym typeface="Wingdings" panose="05000000000000000000" pitchFamily="2" charset="2"/>
              </a:rPr>
              <a:t>boxes</a:t>
            </a:r>
            <a:r>
              <a:rPr lang="nl-NL" dirty="0">
                <a:sym typeface="Wingdings" panose="05000000000000000000" pitchFamily="2" charset="2"/>
              </a:rPr>
              <a:t>’)</a:t>
            </a:r>
          </a:p>
          <a:p>
            <a:endParaRPr lang="nl-NL" dirty="0">
              <a:sym typeface="Wingdings" panose="05000000000000000000" pitchFamily="2" charset="2"/>
            </a:endParaRPr>
          </a:p>
          <a:p>
            <a:r>
              <a:rPr lang="nl-NL" dirty="0">
                <a:sym typeface="Wingdings" panose="05000000000000000000" pitchFamily="2" charset="2"/>
              </a:rPr>
              <a:t>For </a:t>
            </a:r>
            <a:r>
              <a:rPr lang="nl-NL" dirty="0" err="1">
                <a:sym typeface="Wingdings" panose="05000000000000000000" pitchFamily="2" charset="2"/>
              </a:rPr>
              <a:t>now</a:t>
            </a:r>
            <a:r>
              <a:rPr lang="nl-NL" dirty="0">
                <a:sym typeface="Wingdings" panose="05000000000000000000" pitchFamily="2" charset="2"/>
              </a:rPr>
              <a:t> we take P=100%: </a:t>
            </a:r>
          </a:p>
          <a:p>
            <a:r>
              <a:rPr lang="nl-NL" dirty="0" err="1">
                <a:sym typeface="Wingdings" panose="05000000000000000000" pitchFamily="2" charset="2"/>
              </a:rPr>
              <a:t>Boxes</a:t>
            </a:r>
            <a:r>
              <a:rPr lang="nl-NL" dirty="0">
                <a:sym typeface="Wingdings" panose="05000000000000000000" pitchFamily="2" charset="2"/>
              </a:rPr>
              <a:t> </a:t>
            </a:r>
            <a:r>
              <a:rPr lang="nl-NL" dirty="0" err="1">
                <a:sym typeface="Wingdings" panose="05000000000000000000" pitchFamily="2" charset="2"/>
              </a:rPr>
              <a:t>always</a:t>
            </a:r>
            <a:r>
              <a:rPr lang="nl-NL" dirty="0">
                <a:sym typeface="Wingdings" panose="05000000000000000000" pitchFamily="2" charset="2"/>
              </a:rPr>
              <a:t> </a:t>
            </a:r>
            <a:r>
              <a:rPr lang="nl-NL" dirty="0" err="1">
                <a:sym typeface="Wingdings" panose="05000000000000000000" pitchFamily="2" charset="2"/>
              </a:rPr>
              <a:t>obey</a:t>
            </a:r>
            <a:r>
              <a:rPr lang="nl-NL" dirty="0">
                <a:sym typeface="Wingdings" panose="05000000000000000000" pitchFamily="2" charset="2"/>
              </a:rPr>
              <a:t> ‘</a:t>
            </a:r>
            <a:r>
              <a:rPr lang="nl-NL" dirty="0" err="1">
                <a:sym typeface="Wingdings" panose="05000000000000000000" pitchFamily="2" charset="2"/>
              </a:rPr>
              <a:t>the</a:t>
            </a:r>
            <a:r>
              <a:rPr lang="nl-NL" dirty="0">
                <a:sym typeface="Wingdings" panose="05000000000000000000" pitchFamily="2" charset="2"/>
              </a:rPr>
              <a:t> </a:t>
            </a:r>
            <a:r>
              <a:rPr lang="nl-NL" dirty="0" err="1">
                <a:sym typeface="Wingdings" panose="05000000000000000000" pitchFamily="2" charset="2"/>
              </a:rPr>
              <a:t>rule</a:t>
            </a:r>
            <a:r>
              <a:rPr lang="nl-NL" dirty="0">
                <a:sym typeface="Wingdings" panose="05000000000000000000" pitchFamily="2" charset="2"/>
              </a:rPr>
              <a:t>’.</a:t>
            </a:r>
          </a:p>
          <a:p>
            <a:endParaRPr lang="nl-NL" dirty="0">
              <a:sym typeface="Wingdings" panose="05000000000000000000" pitchFamily="2" charset="2"/>
            </a:endParaRPr>
          </a:p>
          <a:p>
            <a:r>
              <a:rPr lang="nl-NL" dirty="0">
                <a:sym typeface="Wingdings" panose="05000000000000000000" pitchFamily="2" charset="2"/>
              </a:rPr>
              <a:t>Same game </a:t>
            </a:r>
            <a:r>
              <a:rPr lang="nl-NL" dirty="0" err="1">
                <a:sym typeface="Wingdings" panose="05000000000000000000" pitchFamily="2" charset="2"/>
              </a:rPr>
              <a:t>settings</a:t>
            </a:r>
            <a:r>
              <a:rPr lang="nl-NL" dirty="0">
                <a:sym typeface="Wingdings" panose="05000000000000000000" pitchFamily="2" charset="2"/>
              </a:rPr>
              <a:t> as </a:t>
            </a:r>
            <a:r>
              <a:rPr lang="nl-NL" dirty="0" err="1">
                <a:sym typeface="Wingdings" panose="05000000000000000000" pitchFamily="2" charset="2"/>
              </a:rPr>
              <a:t>before</a:t>
            </a:r>
            <a:r>
              <a:rPr lang="nl-NL" dirty="0">
                <a:sym typeface="Wingdings" panose="05000000000000000000" pitchFamily="2" charset="2"/>
              </a:rPr>
              <a:t>.</a:t>
            </a:r>
            <a:endParaRPr lang="nl-NL" dirty="0"/>
          </a:p>
        </p:txBody>
      </p:sp>
      <p:sp>
        <p:nvSpPr>
          <p:cNvPr id="11" name="Title 5">
            <a:extLst>
              <a:ext uri="{FF2B5EF4-FFF2-40B4-BE49-F238E27FC236}">
                <a16:creationId xmlns:a16="http://schemas.microsoft.com/office/drawing/2014/main" id="{794D8F1C-1C7A-C65A-6AC5-52206892CF2D}"/>
              </a:ext>
            </a:extLst>
          </p:cNvPr>
          <p:cNvSpPr txBox="1">
            <a:spLocks/>
          </p:cNvSpPr>
          <p:nvPr/>
        </p:nvSpPr>
        <p:spPr>
          <a:xfrm>
            <a:off x="504053" y="376241"/>
            <a:ext cx="8138160" cy="719137"/>
          </a:xfrm>
          <a:prstGeom prst="rect">
            <a:avLst/>
          </a:prstGeom>
        </p:spPr>
        <p:txBody>
          <a:bodyPr/>
          <a:lstStyle>
            <a:lvl1pPr algn="l" defTabSz="914354" rtl="0" eaLnBrk="1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None/>
              <a:defRPr lang="en-US" sz="2400" kern="1200" smtClean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nl-NL" dirty="0" err="1"/>
              <a:t>Assisted</a:t>
            </a:r>
            <a:r>
              <a:rPr lang="nl-NL" dirty="0"/>
              <a:t> </a:t>
            </a:r>
            <a:r>
              <a:rPr lang="nl-NL" dirty="0" err="1"/>
              <a:t>players</a:t>
            </a:r>
            <a:endParaRPr lang="nl-NL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E517B2CE-A1D4-F915-374F-E7143EB00D76}"/>
              </a:ext>
            </a:extLst>
          </p:cNvPr>
          <p:cNvSpPr txBox="1"/>
          <p:nvPr/>
        </p:nvSpPr>
        <p:spPr>
          <a:xfrm>
            <a:off x="382095" y="2873250"/>
            <a:ext cx="3360345" cy="1962076"/>
          </a:xfrm>
          <a:prstGeom prst="rect">
            <a:avLst/>
          </a:prstGeom>
          <a:solidFill>
            <a:schemeClr val="bg2">
              <a:lumMod val="90000"/>
            </a:schemeClr>
          </a:solidFill>
          <a:ln>
            <a:noFill/>
          </a:ln>
        </p:spPr>
        <p:txBody>
          <a:bodyPr wrap="square">
            <a:spAutoFit/>
          </a:bodyPr>
          <a:lstStyle/>
          <a:p>
            <a:r>
              <a:rPr lang="nl-NL" dirty="0"/>
              <a:t>The </a:t>
            </a:r>
            <a:r>
              <a:rPr lang="nl-NL" dirty="0" err="1"/>
              <a:t>AI’s</a:t>
            </a:r>
            <a:r>
              <a:rPr lang="nl-NL" dirty="0"/>
              <a:t> </a:t>
            </a:r>
            <a:r>
              <a:rPr lang="nl-NL" dirty="0" err="1"/>
              <a:t>achieve</a:t>
            </a:r>
            <a:r>
              <a:rPr lang="nl-NL" dirty="0"/>
              <a:t> a </a:t>
            </a:r>
            <a:r>
              <a:rPr lang="nl-NL" dirty="0" err="1"/>
              <a:t>success</a:t>
            </a:r>
            <a:r>
              <a:rPr lang="nl-NL" dirty="0"/>
              <a:t> </a:t>
            </a:r>
            <a:r>
              <a:rPr lang="nl-NL" dirty="0" err="1"/>
              <a:t>rate</a:t>
            </a:r>
            <a:r>
              <a:rPr lang="nl-NL" dirty="0"/>
              <a:t> </a:t>
            </a:r>
            <a:r>
              <a:rPr lang="nl-NL" dirty="0" err="1"/>
              <a:t>that</a:t>
            </a:r>
            <a:r>
              <a:rPr lang="nl-NL" dirty="0"/>
              <a:t> </a:t>
            </a:r>
            <a:r>
              <a:rPr lang="nl-NL" dirty="0" err="1"/>
              <a:t>corresponds</a:t>
            </a:r>
            <a:r>
              <a:rPr lang="nl-NL" dirty="0"/>
              <a:t>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sharing</a:t>
            </a:r>
            <a:r>
              <a:rPr lang="nl-NL" dirty="0"/>
              <a:t> 16bits of information!</a:t>
            </a:r>
          </a:p>
          <a:p>
            <a:endParaRPr lang="nl-NL" sz="1400" dirty="0">
              <a:latin typeface="Calibri" panose="020F0502020204030204" pitchFamily="34" charset="0"/>
              <a:cs typeface="Calibri Light" panose="020F0302020204030204" pitchFamily="34" charset="0"/>
            </a:endParaRPr>
          </a:p>
          <a:p>
            <a:r>
              <a:rPr lang="nl-NL" dirty="0" err="1"/>
              <a:t>Remember</a:t>
            </a:r>
            <a:r>
              <a:rPr lang="nl-NL" dirty="0"/>
              <a:t>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dirty="0"/>
              <a:t>The </a:t>
            </a:r>
            <a:r>
              <a:rPr lang="nl-NL" dirty="0" err="1"/>
              <a:t>boxes</a:t>
            </a:r>
            <a:r>
              <a:rPr lang="nl-NL" dirty="0"/>
              <a:t> do </a:t>
            </a:r>
            <a:r>
              <a:rPr lang="nl-NL" dirty="0" err="1"/>
              <a:t>not</a:t>
            </a:r>
            <a:r>
              <a:rPr lang="nl-NL" dirty="0"/>
              <a:t> </a:t>
            </a:r>
            <a:r>
              <a:rPr lang="nl-NL" dirty="0" err="1"/>
              <a:t>contain</a:t>
            </a:r>
            <a:r>
              <a:rPr lang="nl-NL" dirty="0"/>
              <a:t> informat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dirty="0"/>
              <a:t>The </a:t>
            </a:r>
            <a:r>
              <a:rPr lang="nl-NL" dirty="0" err="1"/>
              <a:t>boxes</a:t>
            </a:r>
            <a:r>
              <a:rPr lang="nl-NL" dirty="0"/>
              <a:t> </a:t>
            </a:r>
            <a:r>
              <a:rPr lang="nl-NL" dirty="0" err="1"/>
              <a:t>cannot</a:t>
            </a:r>
            <a:r>
              <a:rPr lang="nl-NL" dirty="0"/>
              <a:t> </a:t>
            </a:r>
            <a:r>
              <a:rPr lang="nl-NL" dirty="0" err="1"/>
              <a:t>be</a:t>
            </a:r>
            <a:r>
              <a:rPr lang="nl-NL" dirty="0"/>
              <a:t> </a:t>
            </a:r>
            <a:r>
              <a:rPr lang="nl-NL" dirty="0" err="1"/>
              <a:t>used</a:t>
            </a:r>
            <a:r>
              <a:rPr lang="nl-NL" dirty="0"/>
              <a:t>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channel</a:t>
            </a:r>
            <a:r>
              <a:rPr lang="nl-NL" dirty="0"/>
              <a:t> informat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nl-NL" dirty="0"/>
          </a:p>
          <a:p>
            <a:r>
              <a:rPr lang="nl-NL" dirty="0"/>
              <a:t>We break Shannon and </a:t>
            </a:r>
            <a:r>
              <a:rPr lang="nl-NL" dirty="0" err="1"/>
              <a:t>Tsirelson</a:t>
            </a:r>
            <a:r>
              <a:rPr lang="nl-NL" dirty="0"/>
              <a:t> in </a:t>
            </a:r>
            <a:r>
              <a:rPr lang="nl-NL" dirty="0" err="1"/>
              <a:t>one</a:t>
            </a:r>
            <a:r>
              <a:rPr lang="nl-NL" dirty="0"/>
              <a:t> go!</a:t>
            </a:r>
          </a:p>
        </p:txBody>
      </p:sp>
    </p:spTree>
    <p:extLst>
      <p:ext uri="{BB962C8B-B14F-4D97-AF65-F5344CB8AC3E}">
        <p14:creationId xmlns:p14="http://schemas.microsoft.com/office/powerpoint/2010/main" val="34916379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20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20000"/>
                            </p:stCondLst>
                            <p:childTnLst>
                              <p:par>
                                <p:cTn id="9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4" grpId="0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C9B9EF4-FC83-BEBE-98D8-7A3938EF2137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A5163908-529D-4A49-892F-D37C4044DFD8}" type="slidenum">
              <a:rPr lang="en-US" smtClean="0"/>
              <a:pPr/>
              <a:t>7</a:t>
            </a:fld>
            <a:endParaRPr lang="en-US" dirty="0"/>
          </a:p>
        </p:txBody>
      </p:sp>
      <p:sp>
        <p:nvSpPr>
          <p:cNvPr id="4" name="Title 5">
            <a:extLst>
              <a:ext uri="{FF2B5EF4-FFF2-40B4-BE49-F238E27FC236}">
                <a16:creationId xmlns:a16="http://schemas.microsoft.com/office/drawing/2014/main" id="{E746B9F8-3B6F-4EF3-BBCF-86FA44E64B78}"/>
              </a:ext>
            </a:extLst>
          </p:cNvPr>
          <p:cNvSpPr txBox="1">
            <a:spLocks/>
          </p:cNvSpPr>
          <p:nvPr/>
        </p:nvSpPr>
        <p:spPr>
          <a:xfrm rot="16200000">
            <a:off x="-491035" y="1079467"/>
            <a:ext cx="2265427" cy="719137"/>
          </a:xfrm>
          <a:prstGeom prst="rect">
            <a:avLst/>
          </a:prstGeom>
        </p:spPr>
        <p:txBody>
          <a:bodyPr/>
          <a:lstStyle>
            <a:lvl1pPr algn="l" defTabSz="914354" rtl="0" eaLnBrk="1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None/>
              <a:defRPr lang="en-US" sz="2400" kern="1200" smtClean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r"/>
            <a:r>
              <a:rPr lang="nl-NL" dirty="0"/>
              <a:t>Large field limit</a:t>
            </a:r>
          </a:p>
        </p:txBody>
      </p:sp>
      <p:pic>
        <p:nvPicPr>
          <p:cNvPr id="8" name="qseabattle_large_field_limit">
            <a:hlinkClick r:id="" action="ppaction://media"/>
            <a:extLst>
              <a:ext uri="{FF2B5EF4-FFF2-40B4-BE49-F238E27FC236}">
                <a16:creationId xmlns:a16="http://schemas.microsoft.com/office/drawing/2014/main" id="{FB92CE6F-A459-2B94-0654-1D98FE48F83E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5"/>
          <a:stretch>
            <a:fillRect/>
          </a:stretch>
        </p:blipFill>
        <p:spPr>
          <a:xfrm>
            <a:off x="2376487" y="0"/>
            <a:ext cx="6767513" cy="5143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0880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 xmlns:a16="http://schemas.microsoft.com/office/drawing/2014/main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6667" fill="hold"/>
                                        <p:tgtEl>
                                          <p:spTgt spid="8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8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8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8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8"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64CA1C2-80B1-B824-CA32-F90D2CF8EB1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err="1"/>
              <a:t>Two</a:t>
            </a:r>
            <a:r>
              <a:rPr lang="nl-NL" dirty="0"/>
              <a:t> </a:t>
            </a:r>
            <a:r>
              <a:rPr lang="nl-NL" dirty="0" err="1"/>
              <a:t>starting</a:t>
            </a:r>
            <a:r>
              <a:rPr lang="nl-NL" dirty="0"/>
              <a:t> point </a:t>
            </a:r>
            <a:r>
              <a:rPr lang="nl-NL" dirty="0" err="1"/>
              <a:t>leading</a:t>
            </a:r>
            <a:r>
              <a:rPr lang="nl-NL" dirty="0"/>
              <a:t>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same</a:t>
            </a:r>
            <a:r>
              <a:rPr lang="nl-NL" dirty="0"/>
              <a:t> </a:t>
            </a:r>
            <a:r>
              <a:rPr lang="nl-NL" dirty="0" err="1"/>
              <a:t>boundary</a:t>
            </a:r>
            <a:r>
              <a:rPr lang="nl-NL" dirty="0"/>
              <a:t> on non-</a:t>
            </a:r>
            <a:r>
              <a:rPr lang="nl-NL" dirty="0" err="1"/>
              <a:t>locality</a:t>
            </a:r>
            <a:br>
              <a:rPr lang="nl-NL" dirty="0"/>
            </a:br>
            <a:r>
              <a:rPr lang="nl-NL" i="1" dirty="0" err="1"/>
              <a:t>What</a:t>
            </a:r>
            <a:r>
              <a:rPr lang="nl-NL" i="1" dirty="0"/>
              <a:t> is </a:t>
            </a:r>
            <a:r>
              <a:rPr lang="nl-NL" i="1" dirty="0" err="1"/>
              <a:t>the</a:t>
            </a:r>
            <a:r>
              <a:rPr lang="nl-NL" i="1" dirty="0"/>
              <a:t> </a:t>
            </a:r>
            <a:r>
              <a:rPr lang="nl-NL" i="1" dirty="0" err="1"/>
              <a:t>connection</a:t>
            </a:r>
            <a:r>
              <a:rPr lang="nl-NL" i="1" dirty="0"/>
              <a:t>?</a:t>
            </a:r>
          </a:p>
        </p:txBody>
      </p:sp>
      <p:pic>
        <p:nvPicPr>
          <p:cNvPr id="8194" name="Picture 2" descr="Download Wall Icon pack Available in SVG, PNG &amp; Icon Fonts">
            <a:extLst>
              <a:ext uri="{FF2B5EF4-FFF2-40B4-BE49-F238E27FC236}">
                <a16:creationId xmlns:a16="http://schemas.microsoft.com/office/drawing/2014/main" id="{70CA63FB-4F59-9751-6B34-29CFDBA9552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664513" y="1414021"/>
            <a:ext cx="1814974" cy="18149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2A46C78A-F380-D35B-BEC9-52CDEBF08E2F}"/>
              </a:ext>
            </a:extLst>
          </p:cNvPr>
          <p:cNvSpPr txBox="1"/>
          <p:nvPr/>
        </p:nvSpPr>
        <p:spPr>
          <a:xfrm>
            <a:off x="5890229" y="1587825"/>
            <a:ext cx="3168929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dirty="0" err="1"/>
              <a:t>Starting</a:t>
            </a:r>
            <a:r>
              <a:rPr lang="nl-NL" dirty="0"/>
              <a:t> </a:t>
            </a:r>
            <a:r>
              <a:rPr lang="nl-NL" dirty="0" err="1"/>
              <a:t>from</a:t>
            </a:r>
            <a:r>
              <a:rPr lang="nl-NL" dirty="0"/>
              <a:t> </a:t>
            </a:r>
            <a:r>
              <a:rPr lang="nl-NL" dirty="0" err="1"/>
              <a:t>Shannon’s</a:t>
            </a:r>
            <a:r>
              <a:rPr lang="nl-NL" dirty="0"/>
              <a:t> information </a:t>
            </a:r>
            <a:r>
              <a:rPr lang="nl-NL" dirty="0" err="1"/>
              <a:t>theory</a:t>
            </a:r>
            <a:r>
              <a:rPr lang="nl-NL" dirty="0"/>
              <a:t>: </a:t>
            </a:r>
            <a:r>
              <a:rPr lang="nl-NL" dirty="0" err="1"/>
              <a:t>Entropy</a:t>
            </a:r>
            <a:r>
              <a:rPr lang="nl-NL" dirty="0"/>
              <a:t>, </a:t>
            </a:r>
            <a:r>
              <a:rPr lang="nl-NL" dirty="0" err="1"/>
              <a:t>mutual</a:t>
            </a:r>
            <a:r>
              <a:rPr lang="nl-NL" dirty="0"/>
              <a:t> information, …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DE098C99-3B74-94DF-8806-92B7334320B8}"/>
              </a:ext>
            </a:extLst>
          </p:cNvPr>
          <p:cNvSpPr txBox="1"/>
          <p:nvPr/>
        </p:nvSpPr>
        <p:spPr>
          <a:xfrm>
            <a:off x="431564" y="1656754"/>
            <a:ext cx="3699959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dirty="0" err="1"/>
              <a:t>Starting</a:t>
            </a:r>
            <a:r>
              <a:rPr lang="nl-NL" dirty="0"/>
              <a:t> </a:t>
            </a:r>
            <a:r>
              <a:rPr lang="nl-NL" dirty="0" err="1"/>
              <a:t>from</a:t>
            </a:r>
            <a:r>
              <a:rPr lang="nl-NL" dirty="0"/>
              <a:t> John von </a:t>
            </a:r>
            <a:r>
              <a:rPr lang="nl-NL" dirty="0" err="1"/>
              <a:t>Neumann’s</a:t>
            </a:r>
            <a:r>
              <a:rPr lang="nl-NL" dirty="0"/>
              <a:t> </a:t>
            </a:r>
            <a:r>
              <a:rPr lang="nl-NL" dirty="0" err="1"/>
              <a:t>quantum</a:t>
            </a:r>
            <a:r>
              <a:rPr lang="nl-NL" dirty="0"/>
              <a:t> </a:t>
            </a:r>
            <a:r>
              <a:rPr lang="nl-NL" dirty="0" err="1"/>
              <a:t>mechanics</a:t>
            </a:r>
            <a:r>
              <a:rPr lang="nl-NL" dirty="0"/>
              <a:t>: Hilbert </a:t>
            </a:r>
            <a:r>
              <a:rPr lang="nl-NL" dirty="0" err="1"/>
              <a:t>space</a:t>
            </a:r>
            <a:r>
              <a:rPr lang="nl-NL" dirty="0"/>
              <a:t>, (non-)</a:t>
            </a:r>
            <a:r>
              <a:rPr lang="nl-NL" dirty="0" err="1"/>
              <a:t>commuting</a:t>
            </a:r>
            <a:r>
              <a:rPr lang="nl-NL" dirty="0"/>
              <a:t> operators, ….</a:t>
            </a:r>
          </a:p>
          <a:p>
            <a:endParaRPr lang="nl-NL" dirty="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6BA54D7B-F9BA-10E6-B9E4-6F4671AD440A}"/>
              </a:ext>
            </a:extLst>
          </p:cNvPr>
          <p:cNvSpPr txBox="1"/>
          <p:nvPr/>
        </p:nvSpPr>
        <p:spPr>
          <a:xfrm>
            <a:off x="2485720" y="3833305"/>
            <a:ext cx="4172559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1600" dirty="0"/>
              <a:t>Is </a:t>
            </a:r>
            <a:r>
              <a:rPr lang="nl-NL" sz="1600" dirty="0" err="1"/>
              <a:t>there</a:t>
            </a:r>
            <a:r>
              <a:rPr lang="nl-NL" sz="1600" dirty="0"/>
              <a:t> a </a:t>
            </a:r>
            <a:r>
              <a:rPr lang="nl-NL" sz="1600" dirty="0" err="1"/>
              <a:t>deeper</a:t>
            </a:r>
            <a:r>
              <a:rPr lang="nl-NL" sz="1600" dirty="0"/>
              <a:t> </a:t>
            </a:r>
            <a:r>
              <a:rPr lang="nl-NL" sz="1600" dirty="0" err="1"/>
              <a:t>principle</a:t>
            </a:r>
            <a:r>
              <a:rPr lang="nl-NL" sz="1600" dirty="0"/>
              <a:t> </a:t>
            </a:r>
            <a:r>
              <a:rPr lang="nl-NL" sz="1600" dirty="0" err="1"/>
              <a:t>connecting</a:t>
            </a:r>
            <a:r>
              <a:rPr lang="nl-NL" sz="1600" dirty="0"/>
              <a:t> these fields, and </a:t>
            </a:r>
            <a:r>
              <a:rPr lang="nl-NL" sz="1600" dirty="0" err="1"/>
              <a:t>what</a:t>
            </a:r>
            <a:r>
              <a:rPr lang="nl-NL" sz="1600" dirty="0"/>
              <a:t> does </a:t>
            </a:r>
            <a:r>
              <a:rPr lang="nl-NL" sz="1600" dirty="0" err="1"/>
              <a:t>this</a:t>
            </a:r>
            <a:r>
              <a:rPr lang="nl-NL" sz="1600" dirty="0"/>
              <a:t> </a:t>
            </a:r>
            <a:r>
              <a:rPr lang="nl-NL" sz="1600" dirty="0" err="1"/>
              <a:t>teach</a:t>
            </a:r>
            <a:r>
              <a:rPr lang="nl-NL" sz="1600" dirty="0"/>
              <a:t> </a:t>
            </a:r>
            <a:r>
              <a:rPr lang="nl-NL" sz="1600" dirty="0" err="1"/>
              <a:t>us</a:t>
            </a:r>
            <a:r>
              <a:rPr lang="nl-NL" sz="1600" dirty="0"/>
              <a:t> </a:t>
            </a:r>
            <a:r>
              <a:rPr lang="nl-NL" sz="1600" dirty="0" err="1"/>
              <a:t>about</a:t>
            </a:r>
            <a:r>
              <a:rPr lang="nl-NL" sz="1600" dirty="0"/>
              <a:t> </a:t>
            </a:r>
            <a:r>
              <a:rPr lang="nl-NL" sz="1600" dirty="0" err="1"/>
              <a:t>the</a:t>
            </a:r>
            <a:r>
              <a:rPr lang="nl-NL" sz="1600" dirty="0"/>
              <a:t> foundations of </a:t>
            </a:r>
            <a:r>
              <a:rPr lang="nl-NL" sz="1600" dirty="0" err="1"/>
              <a:t>quantum</a:t>
            </a:r>
            <a:r>
              <a:rPr lang="nl-NL" sz="1600" dirty="0"/>
              <a:t> </a:t>
            </a:r>
            <a:r>
              <a:rPr lang="nl-NL" sz="1600" dirty="0" err="1"/>
              <a:t>mechanics</a:t>
            </a:r>
            <a:r>
              <a:rPr lang="nl-NL" sz="1600" dirty="0"/>
              <a:t>? </a:t>
            </a:r>
          </a:p>
        </p:txBody>
      </p:sp>
      <p:pic>
        <p:nvPicPr>
          <p:cNvPr id="5122" name="Picture 2" descr="John von Neumann in de periode dat hij voor het Manhattan project werkte, jaren 40-45">
            <a:extLst>
              <a:ext uri="{FF2B5EF4-FFF2-40B4-BE49-F238E27FC236}">
                <a16:creationId xmlns:a16="http://schemas.microsoft.com/office/drawing/2014/main" id="{6D92DD9F-500C-2B96-19AB-257754091BA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2519154"/>
            <a:ext cx="1516847" cy="19674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mc:AlternateContent xmlns:mc="http://schemas.openxmlformats.org/markup-compatibility/2006">
        <mc:Choice xmlns:a14="http://schemas.microsoft.com/office/drawing/2010/main" Requires="a14">
          <p:sp>
            <p:nvSpPr>
              <p:cNvPr id="3" name="TextBox 2">
                <a:extLst>
                  <a:ext uri="{FF2B5EF4-FFF2-40B4-BE49-F238E27FC236}">
                    <a16:creationId xmlns:a16="http://schemas.microsoft.com/office/drawing/2014/main" id="{D4AF1869-743A-A33A-5832-5279E5FDCD48}"/>
                  </a:ext>
                </a:extLst>
              </p:cNvPr>
              <p:cNvSpPr txBox="1"/>
              <p:nvPr/>
            </p:nvSpPr>
            <p:spPr>
              <a:xfrm>
                <a:off x="2264041" y="2598572"/>
                <a:ext cx="1457299" cy="584328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none" lIns="90000" tIns="46800" rIns="90000" bIns="46800" rtlCol="0">
                <a:spAutoFit/>
              </a:bodyPr>
              <a:lstStyle/>
              <a:p>
                <a:pPr marL="0" indent="0" algn="l">
                  <a:spcAft>
                    <a:spcPts val="600"/>
                  </a:spcAft>
                  <a:buSzPct val="75000"/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2400" b="1" i="1" smtClean="0">
                          <a:latin typeface="Cambria Math" panose="02040503050406030204" pitchFamily="18" charset="0"/>
                        </a:rPr>
                        <m:t>𝑲</m:t>
                      </m:r>
                      <m:r>
                        <a:rPr lang="en-US" sz="2400" b="1" i="1" smtClean="0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en-US" sz="2400" b="1" i="1" smtClean="0">
                          <a:latin typeface="Cambria Math" panose="02040503050406030204" pitchFamily="18" charset="0"/>
                        </a:rPr>
                        <m:t>𝟐</m:t>
                      </m:r>
                      <m:rad>
                        <m:radPr>
                          <m:degHide m:val="on"/>
                          <m:ctrlPr>
                            <a:rPr lang="en-US" sz="2400" b="1" i="1" smtClean="0">
                              <a:latin typeface="Cambria Math" panose="02040503050406030204" pitchFamily="18" charset="0"/>
                            </a:rPr>
                          </m:ctrlPr>
                        </m:radPr>
                        <m:deg/>
                        <m:e>
                          <m:r>
                            <a:rPr lang="en-US" sz="2400" b="1" i="1" smtClean="0">
                              <a:latin typeface="Cambria Math" panose="02040503050406030204" pitchFamily="18" charset="0"/>
                            </a:rPr>
                            <m:t>𝟐</m:t>
                          </m:r>
                        </m:e>
                      </m:rad>
                    </m:oMath>
                  </m:oMathPara>
                </a14:m>
                <a:endParaRPr lang="en-NL" sz="2400" b="1" dirty="0"/>
              </a:p>
            </p:txBody>
          </p:sp>
        </mc:Choice>
        <mc:Fallback>
          <p:sp>
            <p:nvSpPr>
              <p:cNvPr id="3" name="TextBox 2">
                <a:extLst>
                  <a:ext uri="{FF2B5EF4-FFF2-40B4-BE49-F238E27FC236}">
                    <a16:creationId xmlns:a16="http://schemas.microsoft.com/office/drawing/2014/main" id="{D4AF1869-743A-A33A-5832-5279E5FDCD48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264041" y="2598572"/>
                <a:ext cx="1457299" cy="584328"/>
              </a:xfrm>
              <a:prstGeom prst="rect">
                <a:avLst/>
              </a:prstGeom>
              <a:blipFill>
                <a:blip r:embed="rId5"/>
                <a:stretch>
                  <a:fillRect/>
                </a:stretch>
              </a:blipFill>
              <a:ln>
                <a:noFill/>
              </a:ln>
            </p:spPr>
            <p:txBody>
              <a:bodyPr/>
              <a:lstStyle/>
              <a:p>
                <a:r>
                  <a:rPr lang="en-NL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5124" name="Picture 4" descr="A Man in a Hurry: Claude Shannon's New York Years - IEEE Spectrum">
            <a:extLst>
              <a:ext uri="{FF2B5EF4-FFF2-40B4-BE49-F238E27FC236}">
                <a16:creationId xmlns:a16="http://schemas.microsoft.com/office/drawing/2014/main" id="{3FEC5EFD-7D26-9F4C-200D-FEB4D9A6770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69724" y="2414301"/>
            <a:ext cx="1574276" cy="20722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mc:AlternateContent xmlns:mc="http://schemas.openxmlformats.org/markup-compatibility/2006">
        <mc:Choice xmlns:a14="http://schemas.microsoft.com/office/drawing/2010/main" Requires="a14">
          <p:sp>
            <p:nvSpPr>
              <p:cNvPr id="4" name="TextBox 3">
                <a:extLst>
                  <a:ext uri="{FF2B5EF4-FFF2-40B4-BE49-F238E27FC236}">
                    <a16:creationId xmlns:a16="http://schemas.microsoft.com/office/drawing/2014/main" id="{D853E6A7-3926-26CE-3AE6-CAC6991D20C2}"/>
                  </a:ext>
                </a:extLst>
              </p:cNvPr>
              <p:cNvSpPr txBox="1"/>
              <p:nvPr/>
            </p:nvSpPr>
            <p:spPr>
              <a:xfrm>
                <a:off x="4878717" y="2571750"/>
                <a:ext cx="1524625" cy="584328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none" lIns="90000" tIns="46800" rIns="90000" bIns="46800" rtlCol="0">
                <a:spAutoFit/>
              </a:bodyPr>
              <a:lstStyle/>
              <a:p>
                <a:pPr marL="0" indent="0" algn="l">
                  <a:spcAft>
                    <a:spcPts val="600"/>
                  </a:spcAft>
                  <a:buSzPct val="75000"/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2400" b="1" i="1" smtClean="0">
                          <a:latin typeface="Cambria Math" panose="02040503050406030204" pitchFamily="18" charset="0"/>
                        </a:rPr>
                        <m:t>𝑲</m:t>
                      </m:r>
                      <m:r>
                        <a:rPr lang="en-US" sz="2400" b="1" i="1" smtClean="0">
                          <a:latin typeface="Cambria Math" panose="02040503050406030204" pitchFamily="18" charset="0"/>
                        </a:rPr>
                        <m:t>= </m:t>
                      </m:r>
                      <m:r>
                        <a:rPr lang="en-US" sz="2400" b="1" i="1" smtClean="0">
                          <a:latin typeface="Cambria Math" panose="02040503050406030204" pitchFamily="18" charset="0"/>
                        </a:rPr>
                        <m:t>𝟐</m:t>
                      </m:r>
                      <m:rad>
                        <m:radPr>
                          <m:degHide m:val="on"/>
                          <m:ctrlPr>
                            <a:rPr lang="en-US" sz="2400" b="1" i="1" smtClean="0">
                              <a:latin typeface="Cambria Math" panose="02040503050406030204" pitchFamily="18" charset="0"/>
                            </a:rPr>
                          </m:ctrlPr>
                        </m:radPr>
                        <m:deg/>
                        <m:e>
                          <m:r>
                            <a:rPr lang="en-US" sz="2400" b="1" i="1" smtClean="0">
                              <a:latin typeface="Cambria Math" panose="02040503050406030204" pitchFamily="18" charset="0"/>
                            </a:rPr>
                            <m:t>𝟐</m:t>
                          </m:r>
                        </m:e>
                      </m:rad>
                    </m:oMath>
                  </m:oMathPara>
                </a14:m>
                <a:endParaRPr lang="en-NL" sz="2400" b="1" dirty="0"/>
              </a:p>
            </p:txBody>
          </p:sp>
        </mc:Choice>
        <mc:Fallback>
          <p:sp>
            <p:nvSpPr>
              <p:cNvPr id="4" name="TextBox 3">
                <a:extLst>
                  <a:ext uri="{FF2B5EF4-FFF2-40B4-BE49-F238E27FC236}">
                    <a16:creationId xmlns:a16="http://schemas.microsoft.com/office/drawing/2014/main" id="{D853E6A7-3926-26CE-3AE6-CAC6991D20C2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878717" y="2571750"/>
                <a:ext cx="1524625" cy="584328"/>
              </a:xfrm>
              <a:prstGeom prst="rect">
                <a:avLst/>
              </a:prstGeom>
              <a:blipFill>
                <a:blip r:embed="rId7"/>
                <a:stretch>
                  <a:fillRect/>
                </a:stretch>
              </a:blipFill>
              <a:ln>
                <a:noFill/>
              </a:ln>
            </p:spPr>
            <p:txBody>
              <a:bodyPr/>
              <a:lstStyle/>
              <a:p>
                <a:r>
                  <a:rPr lang="en-NL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15056922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64304AF-942A-6B50-7E72-DE0A3199950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567286" y="8394"/>
            <a:ext cx="4572000" cy="5135105"/>
          </a:xfrm>
          <a:solidFill>
            <a:schemeClr val="bg1"/>
          </a:solidFill>
        </p:spPr>
        <p:txBody>
          <a:bodyPr/>
          <a:lstStyle/>
          <a:p>
            <a:pPr marL="0" indent="0">
              <a:buNone/>
            </a:pPr>
            <a:r>
              <a:rPr lang="nl-NL" sz="1200" b="1" dirty="0" err="1"/>
              <a:t>References</a:t>
            </a:r>
            <a:endParaRPr lang="nl-NL" sz="1200" b="1" dirty="0"/>
          </a:p>
          <a:p>
            <a:pPr marL="0" indent="0">
              <a:spcAft>
                <a:spcPts val="0"/>
              </a:spcAft>
              <a:buNone/>
            </a:pPr>
            <a:r>
              <a:rPr lang="nl-NL" sz="1000" b="1" dirty="0"/>
              <a:t>W. van Dam</a:t>
            </a:r>
            <a:br>
              <a:rPr lang="nl-NL" sz="1000" dirty="0"/>
            </a:br>
            <a:r>
              <a:rPr lang="nl-NL" sz="1000" i="1" dirty="0" err="1"/>
              <a:t>Implausible</a:t>
            </a:r>
            <a:r>
              <a:rPr lang="nl-NL" sz="1000" i="1" dirty="0"/>
              <a:t> </a:t>
            </a:r>
            <a:r>
              <a:rPr lang="nl-NL" sz="1000" i="1" dirty="0" err="1"/>
              <a:t>consequences</a:t>
            </a:r>
            <a:r>
              <a:rPr lang="nl-NL" sz="1000" i="1" dirty="0"/>
              <a:t> of </a:t>
            </a:r>
            <a:r>
              <a:rPr lang="nl-NL" sz="1000" i="1" dirty="0" err="1"/>
              <a:t>superstrong</a:t>
            </a:r>
            <a:r>
              <a:rPr lang="nl-NL" sz="1000" i="1" dirty="0"/>
              <a:t> </a:t>
            </a:r>
            <a:r>
              <a:rPr lang="nl-NL" sz="1000" i="1" dirty="0" err="1"/>
              <a:t>nonlocality</a:t>
            </a:r>
            <a:br>
              <a:rPr lang="nl-NL" sz="1000" dirty="0"/>
            </a:br>
            <a:r>
              <a:rPr lang="nl-NL" sz="1000" dirty="0"/>
              <a:t>Natural Computing </a:t>
            </a:r>
            <a:r>
              <a:rPr lang="nl-NL" sz="1000" b="1" dirty="0"/>
              <a:t>12</a:t>
            </a:r>
            <a:r>
              <a:rPr lang="nl-NL" sz="1000" dirty="0"/>
              <a:t>, 9–12 (2013)</a:t>
            </a:r>
            <a:br>
              <a:rPr lang="nl-NL" sz="1000" dirty="0"/>
            </a:br>
            <a:r>
              <a:rPr lang="nl-NL" sz="1000" i="1" dirty="0"/>
              <a:t>(</a:t>
            </a:r>
            <a:r>
              <a:rPr lang="nl-NL" sz="1000" i="1" dirty="0" err="1"/>
              <a:t>original</a:t>
            </a:r>
            <a:r>
              <a:rPr lang="nl-NL" sz="1000" i="1" dirty="0"/>
              <a:t> </a:t>
            </a:r>
            <a:r>
              <a:rPr lang="nl-NL" sz="1000" i="1" dirty="0" err="1"/>
              <a:t>result</a:t>
            </a:r>
            <a:r>
              <a:rPr lang="nl-NL" sz="1000" i="1" dirty="0"/>
              <a:t>: </a:t>
            </a:r>
            <a:r>
              <a:rPr lang="nl-NL" sz="1000" i="1" dirty="0" err="1"/>
              <a:t>communication</a:t>
            </a:r>
            <a:r>
              <a:rPr lang="nl-NL" sz="1000" i="1" dirty="0"/>
              <a:t> </a:t>
            </a:r>
            <a:r>
              <a:rPr lang="nl-NL" sz="1000" i="1" dirty="0" err="1"/>
              <a:t>complexity</a:t>
            </a:r>
            <a:r>
              <a:rPr lang="nl-NL" sz="1000" i="1" dirty="0"/>
              <a:t> </a:t>
            </a:r>
            <a:r>
              <a:rPr lang="nl-NL" sz="1000" i="1" dirty="0" err="1"/>
              <a:t>collapse</a:t>
            </a:r>
            <a:r>
              <a:rPr lang="nl-NL" sz="1000" i="1" dirty="0"/>
              <a:t>)</a:t>
            </a:r>
          </a:p>
          <a:p>
            <a:pPr marL="0" indent="0">
              <a:spcAft>
                <a:spcPts val="0"/>
              </a:spcAft>
              <a:buNone/>
            </a:pPr>
            <a:endParaRPr lang="nl-NL" sz="1000" dirty="0"/>
          </a:p>
          <a:p>
            <a:pPr marL="0" indent="0">
              <a:spcAft>
                <a:spcPts val="0"/>
              </a:spcAft>
              <a:buNone/>
            </a:pPr>
            <a:r>
              <a:rPr lang="nl-NL" sz="1000" b="1" dirty="0"/>
              <a:t>B. S. </a:t>
            </a:r>
            <a:r>
              <a:rPr lang="nl-NL" sz="1000" b="1" dirty="0" err="1"/>
              <a:t>Tsirelson</a:t>
            </a:r>
            <a:br>
              <a:rPr lang="nl-NL" sz="1000" dirty="0"/>
            </a:br>
            <a:r>
              <a:rPr lang="nl-NL" sz="1000" i="1" dirty="0"/>
              <a:t>Quantum </a:t>
            </a:r>
            <a:r>
              <a:rPr lang="nl-NL" sz="1000" i="1" dirty="0" err="1"/>
              <a:t>generalizations</a:t>
            </a:r>
            <a:r>
              <a:rPr lang="nl-NL" sz="1000" i="1" dirty="0"/>
              <a:t> of </a:t>
            </a:r>
            <a:r>
              <a:rPr lang="nl-NL" sz="1000" i="1" dirty="0" err="1"/>
              <a:t>Bell’s</a:t>
            </a:r>
            <a:r>
              <a:rPr lang="nl-NL" sz="1000" i="1" dirty="0"/>
              <a:t> </a:t>
            </a:r>
            <a:r>
              <a:rPr lang="nl-NL" sz="1000" i="1" dirty="0" err="1"/>
              <a:t>inequality</a:t>
            </a:r>
            <a:br>
              <a:rPr lang="nl-NL" sz="1000" dirty="0"/>
            </a:br>
            <a:r>
              <a:rPr lang="nl-NL" sz="1000" dirty="0"/>
              <a:t>Letters in Mathematical </a:t>
            </a:r>
            <a:r>
              <a:rPr lang="nl-NL" sz="1000" dirty="0" err="1"/>
              <a:t>Physics</a:t>
            </a:r>
            <a:r>
              <a:rPr lang="nl-NL" sz="1000" dirty="0"/>
              <a:t> </a:t>
            </a:r>
            <a:r>
              <a:rPr lang="nl-NL" sz="1000" b="1" dirty="0"/>
              <a:t>4</a:t>
            </a:r>
            <a:r>
              <a:rPr lang="nl-NL" sz="1000" dirty="0"/>
              <a:t>, 93–100 (1980)</a:t>
            </a:r>
            <a:br>
              <a:rPr lang="nl-NL" sz="1000" dirty="0"/>
            </a:br>
            <a:r>
              <a:rPr lang="nl-NL" sz="1000" i="1" dirty="0"/>
              <a:t>(</a:t>
            </a:r>
            <a:r>
              <a:rPr lang="nl-NL" sz="1000" i="1" dirty="0" err="1"/>
              <a:t>derivation</a:t>
            </a:r>
            <a:r>
              <a:rPr lang="nl-NL" sz="1000" i="1" dirty="0"/>
              <a:t> of </a:t>
            </a:r>
            <a:r>
              <a:rPr lang="nl-NL" sz="1000" i="1" dirty="0" err="1"/>
              <a:t>the</a:t>
            </a:r>
            <a:r>
              <a:rPr lang="nl-NL" sz="1000" i="1" dirty="0"/>
              <a:t> </a:t>
            </a:r>
            <a:r>
              <a:rPr lang="nl-NL" sz="1000" i="1" dirty="0" err="1"/>
              <a:t>Tsirelson</a:t>
            </a:r>
            <a:r>
              <a:rPr lang="nl-NL" sz="1000" i="1" dirty="0"/>
              <a:t> </a:t>
            </a:r>
            <a:r>
              <a:rPr lang="nl-NL" sz="1000" i="1" dirty="0" err="1"/>
              <a:t>bound</a:t>
            </a:r>
            <a:r>
              <a:rPr lang="nl-NL" sz="1000" i="1" dirty="0"/>
              <a:t>)</a:t>
            </a:r>
          </a:p>
          <a:p>
            <a:pPr marL="0" indent="0">
              <a:spcAft>
                <a:spcPts val="0"/>
              </a:spcAft>
              <a:buNone/>
            </a:pPr>
            <a:endParaRPr lang="nl-NL" sz="1000" i="1" dirty="0"/>
          </a:p>
          <a:p>
            <a:pPr marL="0" indent="0">
              <a:spcAft>
                <a:spcPts val="0"/>
              </a:spcAft>
              <a:buNone/>
            </a:pPr>
            <a:r>
              <a:rPr lang="en-US" sz="1000" b="1" dirty="0"/>
              <a:t>F. Clauser, M. A. Horne, A. </a:t>
            </a:r>
            <a:r>
              <a:rPr lang="en-US" sz="1000" b="1" dirty="0" err="1"/>
              <a:t>Shimony</a:t>
            </a:r>
            <a:r>
              <a:rPr lang="en-US" sz="1000" b="1" dirty="0"/>
              <a:t>, and R. A. Holt</a:t>
            </a:r>
          </a:p>
          <a:p>
            <a:pPr marL="0" indent="0">
              <a:spcAft>
                <a:spcPts val="0"/>
              </a:spcAft>
              <a:buNone/>
            </a:pPr>
            <a:r>
              <a:rPr lang="en-US" sz="1000" i="1" dirty="0"/>
              <a:t>Proposed Experiment to Test Local Hidden-Variable Theories</a:t>
            </a:r>
            <a:r>
              <a:rPr lang="en-US" sz="1000" dirty="0"/>
              <a:t>. </a:t>
            </a:r>
          </a:p>
          <a:p>
            <a:pPr marL="0" indent="0">
              <a:spcAft>
                <a:spcPts val="0"/>
              </a:spcAft>
              <a:buNone/>
            </a:pPr>
            <a:r>
              <a:rPr lang="en-US" sz="1000" dirty="0"/>
              <a:t>Phys. Rev. Lett., </a:t>
            </a:r>
            <a:r>
              <a:rPr lang="en-US" sz="1000" b="1" dirty="0"/>
              <a:t>23, </a:t>
            </a:r>
            <a:r>
              <a:rPr lang="en-US" sz="1000" dirty="0"/>
              <a:t>880– 884 (1969)</a:t>
            </a:r>
          </a:p>
          <a:p>
            <a:pPr marL="0" indent="0">
              <a:spcAft>
                <a:spcPts val="0"/>
              </a:spcAft>
              <a:buNone/>
            </a:pPr>
            <a:endParaRPr lang="nl-NL" sz="1000" dirty="0"/>
          </a:p>
          <a:p>
            <a:pPr marL="0" indent="0">
              <a:spcAft>
                <a:spcPts val="0"/>
              </a:spcAft>
              <a:buNone/>
            </a:pPr>
            <a:r>
              <a:rPr lang="nl-NL" sz="1000" b="1" dirty="0"/>
              <a:t>M. </a:t>
            </a:r>
            <a:r>
              <a:rPr lang="nl-NL" sz="1000" b="1" dirty="0" err="1"/>
              <a:t>Pawłowski</a:t>
            </a:r>
            <a:r>
              <a:rPr lang="nl-NL" sz="1000" b="1" dirty="0"/>
              <a:t>, T. </a:t>
            </a:r>
            <a:r>
              <a:rPr lang="nl-NL" sz="1000" b="1" dirty="0" err="1"/>
              <a:t>Paterek</a:t>
            </a:r>
            <a:r>
              <a:rPr lang="nl-NL" sz="1000" b="1" dirty="0"/>
              <a:t>, D. </a:t>
            </a:r>
            <a:r>
              <a:rPr lang="nl-NL" sz="1000" b="1" dirty="0" err="1"/>
              <a:t>Kaszlikowski</a:t>
            </a:r>
            <a:r>
              <a:rPr lang="nl-NL" sz="1000" b="1" dirty="0"/>
              <a:t>, et al.</a:t>
            </a:r>
            <a:br>
              <a:rPr lang="nl-NL" sz="1000" dirty="0"/>
            </a:br>
            <a:r>
              <a:rPr lang="nl-NL" sz="1000" i="1" dirty="0"/>
              <a:t>Information </a:t>
            </a:r>
            <a:r>
              <a:rPr lang="nl-NL" sz="1000" i="1" dirty="0" err="1"/>
              <a:t>causality</a:t>
            </a:r>
            <a:r>
              <a:rPr lang="nl-NL" sz="1000" i="1" dirty="0"/>
              <a:t> as a </a:t>
            </a:r>
            <a:r>
              <a:rPr lang="nl-NL" sz="1000" i="1" dirty="0" err="1"/>
              <a:t>physical</a:t>
            </a:r>
            <a:r>
              <a:rPr lang="nl-NL" sz="1000" i="1" dirty="0"/>
              <a:t> </a:t>
            </a:r>
            <a:r>
              <a:rPr lang="nl-NL" sz="1000" i="1" dirty="0" err="1"/>
              <a:t>principle</a:t>
            </a:r>
            <a:br>
              <a:rPr lang="nl-NL" sz="1000" dirty="0"/>
            </a:br>
            <a:r>
              <a:rPr lang="nl-NL" sz="1000" dirty="0"/>
              <a:t>Nature </a:t>
            </a:r>
            <a:r>
              <a:rPr lang="nl-NL" sz="1000" b="1" dirty="0"/>
              <a:t>461</a:t>
            </a:r>
            <a:r>
              <a:rPr lang="nl-NL" sz="1000" dirty="0"/>
              <a:t>, 1101–1104 (2009)</a:t>
            </a:r>
            <a:br>
              <a:rPr lang="nl-NL" sz="1000" dirty="0"/>
            </a:br>
            <a:r>
              <a:rPr lang="nl-NL" sz="1000" i="1" dirty="0"/>
              <a:t>(information-</a:t>
            </a:r>
            <a:r>
              <a:rPr lang="nl-NL" sz="1000" i="1" dirty="0" err="1"/>
              <a:t>theoretic</a:t>
            </a:r>
            <a:r>
              <a:rPr lang="nl-NL" sz="1000" i="1" dirty="0"/>
              <a:t> </a:t>
            </a:r>
            <a:r>
              <a:rPr lang="nl-NL" sz="1000" i="1" dirty="0" err="1"/>
              <a:t>explanation</a:t>
            </a:r>
            <a:r>
              <a:rPr lang="nl-NL" sz="1000" i="1" dirty="0"/>
              <a:t> of </a:t>
            </a:r>
            <a:r>
              <a:rPr lang="nl-NL" sz="1000" i="1" dirty="0" err="1"/>
              <a:t>Tsirelson’s</a:t>
            </a:r>
            <a:r>
              <a:rPr lang="nl-NL" sz="1000" i="1" dirty="0"/>
              <a:t> </a:t>
            </a:r>
            <a:r>
              <a:rPr lang="nl-NL" sz="1000" i="1" dirty="0" err="1"/>
              <a:t>bound</a:t>
            </a:r>
            <a:r>
              <a:rPr lang="nl-NL" sz="1000" i="1" dirty="0"/>
              <a:t>)</a:t>
            </a:r>
          </a:p>
          <a:p>
            <a:pPr marL="0" indent="0">
              <a:spcAft>
                <a:spcPts val="0"/>
              </a:spcAft>
              <a:buNone/>
            </a:pPr>
            <a:endParaRPr lang="nl-NL" sz="1000" dirty="0"/>
          </a:p>
          <a:p>
            <a:pPr marL="0" indent="0">
              <a:spcAft>
                <a:spcPts val="0"/>
              </a:spcAft>
              <a:buNone/>
            </a:pPr>
            <a:r>
              <a:rPr lang="nl-NL" sz="1000" b="1" dirty="0"/>
              <a:t>J. </a:t>
            </a:r>
            <a:r>
              <a:rPr lang="nl-NL" sz="1000" b="1" dirty="0" err="1"/>
              <a:t>Bub</a:t>
            </a:r>
            <a:br>
              <a:rPr lang="nl-NL" sz="1000" dirty="0"/>
            </a:br>
            <a:r>
              <a:rPr lang="nl-NL" sz="1000" i="1" dirty="0" err="1"/>
              <a:t>Bananaworld</a:t>
            </a:r>
            <a:r>
              <a:rPr lang="nl-NL" sz="1000" i="1" dirty="0"/>
              <a:t>: Quantum </a:t>
            </a:r>
            <a:r>
              <a:rPr lang="nl-NL" sz="1000" i="1" dirty="0" err="1"/>
              <a:t>Mechanics</a:t>
            </a:r>
            <a:r>
              <a:rPr lang="nl-NL" sz="1000" i="1" dirty="0"/>
              <a:t> </a:t>
            </a:r>
            <a:r>
              <a:rPr lang="nl-NL" sz="1000" i="1" dirty="0" err="1"/>
              <a:t>for</a:t>
            </a:r>
            <a:r>
              <a:rPr lang="nl-NL" sz="1000" i="1" dirty="0"/>
              <a:t> </a:t>
            </a:r>
            <a:r>
              <a:rPr lang="nl-NL" sz="1000" i="1" dirty="0" err="1"/>
              <a:t>Primates</a:t>
            </a:r>
            <a:br>
              <a:rPr lang="nl-NL" sz="1000" dirty="0"/>
            </a:br>
            <a:r>
              <a:rPr lang="nl-NL" sz="1000" dirty="0"/>
              <a:t>In: </a:t>
            </a:r>
            <a:r>
              <a:rPr lang="nl-NL" sz="1000" i="1" dirty="0" err="1"/>
              <a:t>Interpreting</a:t>
            </a:r>
            <a:r>
              <a:rPr lang="nl-NL" sz="1000" i="1" dirty="0"/>
              <a:t> Quantum </a:t>
            </a:r>
            <a:r>
              <a:rPr lang="nl-NL" sz="1000" i="1" dirty="0" err="1"/>
              <a:t>Mechanics</a:t>
            </a:r>
            <a:r>
              <a:rPr lang="nl-NL" sz="1000" dirty="0"/>
              <a:t>, Cambridge University Press (2016)</a:t>
            </a:r>
            <a:br>
              <a:rPr lang="nl-NL" sz="1000" dirty="0"/>
            </a:br>
            <a:r>
              <a:rPr lang="nl-NL" sz="1000" i="1" dirty="0"/>
              <a:t>(</a:t>
            </a:r>
            <a:r>
              <a:rPr lang="nl-NL" sz="1000" i="1" dirty="0" err="1"/>
              <a:t>conceptual</a:t>
            </a:r>
            <a:r>
              <a:rPr lang="nl-NL" sz="1000" i="1" dirty="0"/>
              <a:t> </a:t>
            </a:r>
            <a:r>
              <a:rPr lang="nl-NL" sz="1000" i="1" dirty="0" err="1"/>
              <a:t>explanation</a:t>
            </a:r>
            <a:r>
              <a:rPr lang="nl-NL" sz="1000" i="1" dirty="0"/>
              <a:t> of </a:t>
            </a:r>
            <a:r>
              <a:rPr lang="nl-NL" sz="1000" i="1" dirty="0" err="1"/>
              <a:t>nonlocal</a:t>
            </a:r>
            <a:r>
              <a:rPr lang="nl-NL" sz="1000" i="1" dirty="0"/>
              <a:t> </a:t>
            </a:r>
            <a:r>
              <a:rPr lang="nl-NL" sz="1000" i="1" dirty="0" err="1"/>
              <a:t>correlations</a:t>
            </a:r>
            <a:r>
              <a:rPr lang="nl-NL" sz="1000" i="1" dirty="0"/>
              <a:t>)</a:t>
            </a:r>
          </a:p>
          <a:p>
            <a:pPr marL="0" indent="0">
              <a:spcAft>
                <a:spcPts val="0"/>
              </a:spcAft>
              <a:buNone/>
            </a:pPr>
            <a:endParaRPr lang="nl-NL" sz="1000" i="1" dirty="0"/>
          </a:p>
          <a:p>
            <a:pPr marL="0" indent="0">
              <a:spcAft>
                <a:spcPts val="0"/>
              </a:spcAft>
              <a:buNone/>
            </a:pPr>
            <a:r>
              <a:rPr lang="nl-NL" sz="1000" b="1" dirty="0"/>
              <a:t>J. </a:t>
            </a:r>
            <a:r>
              <a:rPr lang="nl-NL" sz="1000" b="1" dirty="0" err="1"/>
              <a:t>Foerster</a:t>
            </a:r>
            <a:r>
              <a:rPr lang="nl-NL" sz="1000" b="1" dirty="0"/>
              <a:t>, Y. M. </a:t>
            </a:r>
            <a:r>
              <a:rPr lang="nl-NL" sz="1000" b="1" dirty="0" err="1"/>
              <a:t>Assael</a:t>
            </a:r>
            <a:r>
              <a:rPr lang="nl-NL" sz="1000" b="1" dirty="0"/>
              <a:t>, N. de </a:t>
            </a:r>
            <a:r>
              <a:rPr lang="nl-NL" sz="1000" b="1" dirty="0" err="1"/>
              <a:t>Freitas</a:t>
            </a:r>
            <a:r>
              <a:rPr lang="nl-NL" sz="1000" b="1" dirty="0"/>
              <a:t>, S. </a:t>
            </a:r>
            <a:r>
              <a:rPr lang="nl-NL" sz="1000" b="1" dirty="0" err="1"/>
              <a:t>Whiteson</a:t>
            </a:r>
            <a:br>
              <a:rPr lang="nl-NL" sz="1000" dirty="0"/>
            </a:br>
            <a:r>
              <a:rPr lang="nl-NL" sz="1000" i="1" dirty="0"/>
              <a:t>Learning </a:t>
            </a:r>
            <a:r>
              <a:rPr lang="nl-NL" sz="1000" i="1" dirty="0" err="1"/>
              <a:t>to</a:t>
            </a:r>
            <a:r>
              <a:rPr lang="nl-NL" sz="1000" i="1" dirty="0"/>
              <a:t> </a:t>
            </a:r>
            <a:r>
              <a:rPr lang="nl-NL" sz="1000" i="1" dirty="0" err="1"/>
              <a:t>Communicate</a:t>
            </a:r>
            <a:r>
              <a:rPr lang="nl-NL" sz="1000" i="1" dirty="0"/>
              <a:t> </a:t>
            </a:r>
            <a:r>
              <a:rPr lang="nl-NL" sz="1000" i="1" dirty="0" err="1"/>
              <a:t>with</a:t>
            </a:r>
            <a:r>
              <a:rPr lang="nl-NL" sz="1000" i="1" dirty="0"/>
              <a:t> </a:t>
            </a:r>
            <a:r>
              <a:rPr lang="nl-NL" sz="1000" i="1" dirty="0" err="1"/>
              <a:t>Deep</a:t>
            </a:r>
            <a:r>
              <a:rPr lang="nl-NL" sz="1000" i="1" dirty="0"/>
              <a:t> Multi-Agent </a:t>
            </a:r>
            <a:r>
              <a:rPr lang="nl-NL" sz="1000" i="1" dirty="0" err="1"/>
              <a:t>Reinforcement</a:t>
            </a:r>
            <a:r>
              <a:rPr lang="nl-NL" sz="1000" i="1" dirty="0"/>
              <a:t> Learning</a:t>
            </a:r>
            <a:br>
              <a:rPr lang="nl-NL" sz="1000" dirty="0"/>
            </a:br>
            <a:r>
              <a:rPr lang="nl-NL" sz="1000" dirty="0"/>
              <a:t>Advances in </a:t>
            </a:r>
            <a:r>
              <a:rPr lang="nl-NL" sz="1000" dirty="0" err="1"/>
              <a:t>Neural</a:t>
            </a:r>
            <a:r>
              <a:rPr lang="nl-NL" sz="1000" dirty="0"/>
              <a:t> Information Processing Systems (</a:t>
            </a:r>
            <a:r>
              <a:rPr lang="nl-NL" sz="1000" b="1" dirty="0" err="1"/>
              <a:t>NeurIPS</a:t>
            </a:r>
            <a:r>
              <a:rPr lang="nl-NL" sz="1000" dirty="0"/>
              <a:t>) 2016</a:t>
            </a:r>
            <a:br>
              <a:rPr lang="nl-NL" sz="1000" dirty="0"/>
            </a:br>
            <a:r>
              <a:rPr lang="nl-NL" sz="1000" i="1" dirty="0"/>
              <a:t>(</a:t>
            </a:r>
            <a:r>
              <a:rPr lang="nl-NL" sz="1000" i="1" dirty="0" err="1"/>
              <a:t>Introduces</a:t>
            </a:r>
            <a:r>
              <a:rPr lang="nl-NL" sz="1000" i="1" dirty="0"/>
              <a:t> DIAL and </a:t>
            </a:r>
            <a:r>
              <a:rPr lang="nl-NL" sz="1000" i="1" dirty="0" err="1"/>
              <a:t>the</a:t>
            </a:r>
            <a:r>
              <a:rPr lang="nl-NL" sz="1000" i="1" dirty="0"/>
              <a:t> </a:t>
            </a:r>
            <a:r>
              <a:rPr lang="nl-NL" sz="1000" i="1" dirty="0" err="1"/>
              <a:t>Discretize</a:t>
            </a:r>
            <a:r>
              <a:rPr lang="nl-NL" sz="1000" i="1" dirty="0"/>
              <a:t>/</a:t>
            </a:r>
            <a:r>
              <a:rPr lang="nl-NL" sz="1000" i="1" dirty="0" err="1"/>
              <a:t>Regularize</a:t>
            </a:r>
            <a:r>
              <a:rPr lang="nl-NL" sz="1000" i="1" dirty="0"/>
              <a:t> Unit (DRU) </a:t>
            </a:r>
            <a:r>
              <a:rPr lang="nl-NL" sz="1000" i="1" dirty="0" err="1"/>
              <a:t>for</a:t>
            </a:r>
            <a:r>
              <a:rPr lang="nl-NL" sz="1000" i="1" dirty="0"/>
              <a:t> </a:t>
            </a:r>
            <a:r>
              <a:rPr lang="nl-NL" sz="1000" i="1" dirty="0" err="1"/>
              <a:t>learning</a:t>
            </a:r>
            <a:r>
              <a:rPr lang="nl-NL" sz="1000" i="1" dirty="0"/>
              <a:t> </a:t>
            </a:r>
            <a:r>
              <a:rPr lang="nl-NL" sz="1000" i="1" dirty="0" err="1"/>
              <a:t>communication</a:t>
            </a:r>
            <a:r>
              <a:rPr lang="nl-NL" sz="1000" i="1" dirty="0"/>
              <a:t> </a:t>
            </a:r>
            <a:r>
              <a:rPr lang="nl-NL" sz="1000" i="1" dirty="0" err="1"/>
              <a:t>under</a:t>
            </a:r>
            <a:r>
              <a:rPr lang="nl-NL" sz="1000" i="1" dirty="0"/>
              <a:t> </a:t>
            </a:r>
            <a:r>
              <a:rPr lang="nl-NL" sz="1000" i="1" dirty="0" err="1"/>
              <a:t>bandwidth</a:t>
            </a:r>
            <a:r>
              <a:rPr lang="nl-NL" sz="1000" i="1" dirty="0"/>
              <a:t> </a:t>
            </a:r>
            <a:r>
              <a:rPr lang="nl-NL" sz="1000" i="1" dirty="0" err="1"/>
              <a:t>constraints</a:t>
            </a:r>
            <a:r>
              <a:rPr lang="nl-NL" sz="1000" i="1" dirty="0"/>
              <a:t>)</a:t>
            </a:r>
            <a:endParaRPr lang="nl-NL" sz="1000" dirty="0"/>
          </a:p>
          <a:p>
            <a:endParaRPr lang="en-NL" sz="1000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6AAA0AFE-E711-7E86-5AA5-DEE53CED429B}"/>
              </a:ext>
            </a:extLst>
          </p:cNvPr>
          <p:cNvSpPr txBox="1"/>
          <p:nvPr/>
        </p:nvSpPr>
        <p:spPr>
          <a:xfrm>
            <a:off x="296944" y="3455331"/>
            <a:ext cx="4572000" cy="584775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r>
              <a:rPr lang="en-US" sz="1600" dirty="0"/>
              <a:t>(or check out the repo at </a:t>
            </a:r>
            <a:r>
              <a:rPr lang="en-NL" sz="1600" dirty="0"/>
              <a:t>https://github.com/robhendrik/QSeaBattle</a:t>
            </a:r>
            <a:r>
              <a:rPr lang="en-US" sz="1600" dirty="0"/>
              <a:t>)</a:t>
            </a:r>
            <a:endParaRPr lang="en-NL" sz="1600" dirty="0"/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D06C1E8D-7682-4FB1-1EC4-06BBBB73A1A6}"/>
              </a:ext>
            </a:extLst>
          </p:cNvPr>
          <p:cNvSpPr txBox="1">
            <a:spLocks/>
          </p:cNvSpPr>
          <p:nvPr/>
        </p:nvSpPr>
        <p:spPr>
          <a:xfrm>
            <a:off x="454294" y="262919"/>
            <a:ext cx="3955642" cy="3484800"/>
          </a:xfrm>
          <a:prstGeom prst="rect">
            <a:avLst/>
          </a:prstGeom>
        </p:spPr>
        <p:txBody>
          <a:bodyPr vert="horz" lIns="0" tIns="0" rIns="0" bIns="0" numCol="1" spcCol="270000" rtlCol="0">
            <a:noAutofit/>
          </a:bodyPr>
          <a:lstStyle>
            <a:lvl1pPr marL="146304" indent="-146304" algn="l" defTabSz="1836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Pct val="75000"/>
              <a:buChar char="•"/>
              <a:defRPr lang="en-US" sz="1400" b="0" i="0" kern="120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1pPr>
            <a:lvl2pPr marL="295200" indent="-147600" algn="l" defTabSz="1836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Pct val="75000"/>
              <a:buChar char="•"/>
              <a:defRPr lang="en-US" sz="1200" b="0" i="0" kern="120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2pPr>
            <a:lvl3pPr marL="442800" indent="-147600" algn="l" defTabSz="1836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Pct val="75000"/>
              <a:buChar char="•"/>
              <a:defRPr lang="en-US" sz="1050" b="0" i="0" kern="120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3pPr>
            <a:lvl4pPr marL="590400" indent="-147600" algn="l" defTabSz="1836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Pct val="75000"/>
              <a:buChar char="•"/>
              <a:defRPr lang="en-US" sz="1000" b="0" i="0" kern="120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4pPr>
            <a:lvl5pPr marL="738000" indent="-147600" algn="l" defTabSz="1836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Pct val="75000"/>
              <a:buChar char="•"/>
              <a:defRPr lang="en-IN" sz="1400" kern="1200" dirty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5pPr>
            <a:lvl6pPr marL="885600" indent="-147600" algn="l" defTabSz="9143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5000"/>
              <a:buChar char="•"/>
              <a:defRPr lang="en-US" sz="1400" kern="1200" dirty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6pPr>
            <a:lvl7pPr marL="1033200" indent="-147600" algn="l" defTabSz="9143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5000"/>
              <a:buChar char="•"/>
              <a:defRPr sz="14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7pPr>
            <a:lvl8pPr marL="1180800" indent="-147600" algn="l" defTabSz="9143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5000"/>
              <a:buChar char="•"/>
              <a:defRPr sz="14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8pPr>
            <a:lvl9pPr marL="1328400" indent="-147600" algn="l" defTabSz="9143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5000"/>
              <a:buChar char="•"/>
              <a:defRPr sz="14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9pPr>
          </a:lstStyle>
          <a:p>
            <a:pPr marL="0" indent="0">
              <a:buFontTx/>
              <a:buNone/>
            </a:pPr>
            <a:r>
              <a:rPr lang="nl-NL" sz="1600" b="1" dirty="0" err="1"/>
              <a:t>QSeaBattle</a:t>
            </a:r>
            <a:r>
              <a:rPr lang="nl-NL" sz="1600" b="1" dirty="0"/>
              <a:t> </a:t>
            </a:r>
            <a:r>
              <a:rPr lang="nl-NL" sz="1600" b="1" dirty="0" err="1"/>
              <a:t>Documentation</a:t>
            </a:r>
            <a:endParaRPr lang="nl-NL" sz="1600" b="1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D9BE37C8-A972-59A9-5253-65D9DD6CA22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13687" y="612443"/>
            <a:ext cx="2276268" cy="2251704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B9A9D25D-C1A9-CB79-A006-A3933208F10B}"/>
              </a:ext>
            </a:extLst>
          </p:cNvPr>
          <p:cNvSpPr txBox="1"/>
          <p:nvPr/>
        </p:nvSpPr>
        <p:spPr>
          <a:xfrm>
            <a:off x="296944" y="2967379"/>
            <a:ext cx="4572000" cy="338554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r>
              <a:rPr lang="en-NL" sz="1600" dirty="0"/>
              <a:t>https://robhendrik.github.io/QSeaBattle/</a:t>
            </a:r>
          </a:p>
        </p:txBody>
      </p:sp>
    </p:spTree>
    <p:extLst>
      <p:ext uri="{BB962C8B-B14F-4D97-AF65-F5344CB8AC3E}">
        <p14:creationId xmlns:p14="http://schemas.microsoft.com/office/powerpoint/2010/main" val="10829215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DBUoc6Sy.lkCHWo1uwO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DBUoc6Sy.lkCHWo1uwO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DBUoc6Sy.lkCHWo1uwO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DBUoc6Sy.lkCHWo1uwO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DBUoc6Sy.lkCHWo1uwO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Slide Master Only: November 2024">
  <a:themeElements>
    <a:clrScheme name="Philips">
      <a:dk1>
        <a:srgbClr val="000000"/>
      </a:dk1>
      <a:lt1>
        <a:srgbClr val="FFFFFF"/>
      </a:lt1>
      <a:dk2>
        <a:srgbClr val="0B5ED7"/>
      </a:dk2>
      <a:lt2>
        <a:srgbClr val="BDF0FF"/>
      </a:lt2>
      <a:accent1>
        <a:srgbClr val="00126E"/>
      </a:accent1>
      <a:accent2>
        <a:srgbClr val="02DA20"/>
      </a:accent2>
      <a:accent3>
        <a:srgbClr val="F85569"/>
      </a:accent3>
      <a:accent4>
        <a:srgbClr val="FFCF50"/>
      </a:accent4>
      <a:accent5>
        <a:srgbClr val="FA8DDC"/>
      </a:accent5>
      <a:accent6>
        <a:srgbClr val="D780FF"/>
      </a:accent6>
      <a:hlink>
        <a:srgbClr val="0B5ED7"/>
      </a:hlink>
      <a:folHlink>
        <a:srgbClr val="0B5ED7"/>
      </a:folHlink>
    </a:clrScheme>
    <a:fontScheme name="Philips (2024)">
      <a:majorFont>
        <a:latin typeface="Calibri Light"/>
        <a:ea typeface="Yu Gothic"/>
        <a:cs typeface=""/>
      </a:majorFont>
      <a:minorFont>
        <a:latin typeface="Calibri"/>
        <a:ea typeface="Yu Gothic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 w="25400" cap="flat" cmpd="sng" algn="ctr">
          <a:noFill/>
          <a:prstDash val="solid"/>
        </a:ln>
        <a:effectLst/>
      </a:spPr>
      <a:bodyPr lIns="90000" tIns="46800" rIns="90000" bIns="46800" rtlCol="0" anchor="ctr"/>
      <a:lstStyle>
        <a:defPPr algn="ctr">
          <a:spcAft>
            <a:spcPts val="600"/>
          </a:spcAft>
          <a:defRPr sz="1400" dirty="0" err="1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  <a:ln>
          <a:noFill/>
        </a:ln>
      </a:spPr>
      <a:bodyPr wrap="none" lIns="90000" tIns="46800" rIns="90000" bIns="46800" rtlCol="0">
        <a:spAutoFit/>
      </a:bodyPr>
      <a:lstStyle>
        <a:defPPr marL="0" indent="0" algn="l">
          <a:spcAft>
            <a:spcPts val="600"/>
          </a:spcAft>
          <a:buSzPct val="75000"/>
          <a:buNone/>
          <a:defRPr sz="1400" dirty="0" smtClean="0"/>
        </a:defPPr>
      </a:lstStyle>
    </a:txDef>
  </a:objectDefaults>
  <a:extraClrSchemeLst/>
  <a:custClrLst>
    <a:custClr name="Light Blue">
      <a:srgbClr val="BDF0FF"/>
    </a:custClr>
    <a:custClr name="Light Aqua">
      <a:srgbClr val="9CF6FB"/>
    </a:custClr>
    <a:custClr name="Light Green">
      <a:srgbClr val="ADFFB5"/>
    </a:custClr>
    <a:custClr name="Light Gold">
      <a:srgbClr val="FCFCC2"/>
    </a:custClr>
    <a:custClr name="Light Coral">
      <a:srgbClr val="FFDEDB"/>
    </a:custClr>
    <a:custClr name="Light Pink">
      <a:srgbClr val="FFE5F9"/>
    </a:custClr>
    <a:custClr name="Light Purple">
      <a:srgbClr val="F1DEFC"/>
    </a:custClr>
    <a:custClr name="White">
      <a:srgbClr val="FFFFFF"/>
    </a:custClr>
    <a:custClr name="White">
      <a:srgbClr val="FFFFFF"/>
    </a:custClr>
    <a:custClr name="White">
      <a:srgbClr val="FFFFFF"/>
    </a:custClr>
    <a:custClr name="Philips Blue">
      <a:srgbClr val="0B5ED7"/>
    </a:custClr>
    <a:custClr name="Aqua">
      <a:srgbClr val="02ABB1"/>
    </a:custClr>
    <a:custClr name="Green">
      <a:srgbClr val="02DA21"/>
    </a:custClr>
    <a:custClr name="Gold">
      <a:srgbClr val="FFCF50"/>
    </a:custClr>
    <a:custClr name="Coral">
      <a:srgbClr val="F85569"/>
    </a:custClr>
    <a:custClr name="Pink">
      <a:srgbClr val="FA8DDC"/>
    </a:custClr>
    <a:custClr name="Purple">
      <a:srgbClr val="D780FF"/>
    </a:custClr>
    <a:custClr name="White">
      <a:srgbClr val="FFFFFF"/>
    </a:custClr>
    <a:custClr name="White">
      <a:srgbClr val="FFFFFF"/>
    </a:custClr>
    <a:custClr name="White">
      <a:srgbClr val="FFFFFF"/>
    </a:custClr>
    <a:custClr name="Dark Blue">
      <a:srgbClr val="00126E"/>
    </a:custClr>
    <a:custClr name="Dark Aqua">
      <a:srgbClr val="00666F"/>
    </a:custClr>
    <a:custClr name="Dark Green">
      <a:srgbClr val="008800"/>
    </a:custClr>
    <a:custClr name="Dark Gold">
      <a:srgbClr val="FCA708"/>
    </a:custClr>
    <a:custClr name="Dark Coral">
      <a:srgbClr val="D43F44"/>
    </a:custClr>
    <a:custClr name="Dark Pink">
      <a:srgbClr val="DB0383"/>
    </a:custClr>
    <a:custClr name="Dark Purple">
      <a:srgbClr val="A80DF2"/>
    </a:custClr>
    <a:custClr name="White">
      <a:srgbClr val="FFFFFF"/>
    </a:custClr>
    <a:custClr name="White">
      <a:srgbClr val="FFFFFF"/>
    </a:custClr>
    <a:custClr name="White">
      <a:srgbClr val="FFFFFF"/>
    </a:custClr>
  </a:custClrLst>
  <a:extLst>
    <a:ext uri="{05A4C25C-085E-4340-85A3-A5531E510DB2}">
      <thm15:themeFamily xmlns:thm15="http://schemas.microsoft.com/office/thememl/2012/main" name="ACTIVE edits_JULY 15 VisID template" id="{6786F5D1-4757-F140-90A2-1887A2078D1A}" vid="{E537A740-66BA-B049-9B06-A6174F937CAD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350" row="0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ADA48BB3-A2F8-5147-98FB-30E02B1C7AEF}">
  <we:reference id="54c7af0c-5b65-49a9-ab86-f2a8a4690127" version="2.0.0.3" store="EXCatalog" storeType="EXCatalog"/>
  <we:alternateReferences/>
  <we:properties/>
  <we:bindings/>
  <we:snapshot xmlns:r="http://schemas.openxmlformats.org/officeDocument/2006/relationships"/>
</we:webextension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_rels/item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.xml"/></Relationships>
</file>

<file path=customXml/item1.xml><?xml version="1.0" encoding="utf-8"?>
<TemplafyFormConfiguration><![CDATA[{"formFields":[],"formDataEntries":[]}]]></TemplafyFormConfiguration>
</file>

<file path=customXml/item2.xml><?xml version="1.0" encoding="utf-8"?>
<TemplafyTemplateConfiguration><![CDATA[{"elementsMetadata":[],"transformationConfigurations":[],"templateName":"Philips Master Template (updated margins)","templateDescription":"","enableDocumentContentUpdater":false,"version":"2.0"}]]></TemplafyTemplateConfiguration>
</file>

<file path=customXml/item3.xml><?xml version="1.0" encoding="utf-8"?>
<TemplafySlideTemplateConfiguration><![CDATA[{"slideVersion":1,"isValidatorEnabled":false,"isLocked":false,"elementsMetadata":[],"slideId":"1267840777025486852","enableDocumentContentUpdater":false,"version":"2.0"}]]></TemplafySlideTemplateConfiguration>
</file>

<file path=customXml/item4.xml><?xml version="1.0" encoding="utf-8"?>
<TemplafySlideFormConfiguration><![CDATA[{"formFields":[],"formDataEntries":[]}]]></TemplafySlideFormConfiguration>
</file>

<file path=customXml/item5.xml><?xml version="1.0" encoding="utf-8"?>
<TemplafySlideFormConfiguration><![CDATA[{"formFields":[],"formDataEntries":[]}]]></TemplafySlideFormConfiguration>
</file>

<file path=customXml/item6.xml><?xml version="1.0" encoding="utf-8"?>
<TemplafySlideTemplateConfiguration><![CDATA[{"slideVersion":1,"isValidatorEnabled":false,"isLocked":false,"elementsMetadata":[],"slideId":"1267840777025486853","enableDocumentContentUpdater":false,"version":"2.0"}]]></TemplafySlideTemplateConfiguration>
</file>

<file path=customXml/itemProps1.xml><?xml version="1.0" encoding="utf-8"?>
<ds:datastoreItem xmlns:ds="http://schemas.openxmlformats.org/officeDocument/2006/customXml" ds:itemID="{758FF650-907C-428F-AD7B-6BA9D849A6CB}">
  <ds:schemaRefs/>
</ds:datastoreItem>
</file>

<file path=customXml/itemProps2.xml><?xml version="1.0" encoding="utf-8"?>
<ds:datastoreItem xmlns:ds="http://schemas.openxmlformats.org/officeDocument/2006/customXml" ds:itemID="{BFBCB3F7-860C-40CC-8532-A042390E68D6}">
  <ds:schemaRefs/>
</ds:datastoreItem>
</file>

<file path=customXml/itemProps3.xml><?xml version="1.0" encoding="utf-8"?>
<ds:datastoreItem xmlns:ds="http://schemas.openxmlformats.org/officeDocument/2006/customXml" ds:itemID="{B2E38FC4-1533-4A92-B582-8C6E853F1307}">
  <ds:schemaRefs/>
</ds:datastoreItem>
</file>

<file path=customXml/itemProps4.xml><?xml version="1.0" encoding="utf-8"?>
<ds:datastoreItem xmlns:ds="http://schemas.openxmlformats.org/officeDocument/2006/customXml" ds:itemID="{6BF8525C-62B9-4321-91B7-FFEFD4A5025A}">
  <ds:schemaRefs/>
</ds:datastoreItem>
</file>

<file path=customXml/itemProps5.xml><?xml version="1.0" encoding="utf-8"?>
<ds:datastoreItem xmlns:ds="http://schemas.openxmlformats.org/officeDocument/2006/customXml" ds:itemID="{A6B36AB5-24CA-4029-9FB5-25F24ED71B7F}">
  <ds:schemaRefs/>
</ds:datastoreItem>
</file>

<file path=customXml/itemProps6.xml><?xml version="1.0" encoding="utf-8"?>
<ds:datastoreItem xmlns:ds="http://schemas.openxmlformats.org/officeDocument/2006/customXml" ds:itemID="{91AB6EA3-3FA0-48D1-A667-58CAAF3B0157}">
  <ds:schemaRefs/>
</ds:datastoreItem>
</file>

<file path=docMetadata/LabelInfo.xml><?xml version="1.0" encoding="utf-8"?>
<clbl:labelList xmlns:clbl="http://schemas.microsoft.com/office/2020/mipLabelMetadata">
  <clbl:label id="{1a407a2d-7675-4d17-8692-b3ac285306e4}" enabled="0" method="" siteId="{1a407a2d-7675-4d17-8692-b3ac285306e4}" removed="1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964</Words>
  <Application>Microsoft Office PowerPoint</Application>
  <PresentationFormat>On-screen Show (16:9)</PresentationFormat>
  <Paragraphs>136</Paragraphs>
  <Slides>11</Slides>
  <Notes>10</Notes>
  <HiddenSlides>1</HiddenSlides>
  <MMClips>1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1</vt:i4>
      </vt:variant>
    </vt:vector>
  </HeadingPairs>
  <TitlesOfParts>
    <vt:vector size="18" baseType="lpstr">
      <vt:lpstr>Arial</vt:lpstr>
      <vt:lpstr>Calibri</vt:lpstr>
      <vt:lpstr>Calibri Light</vt:lpstr>
      <vt:lpstr>Cambria Math</vt:lpstr>
      <vt:lpstr>Wingdings</vt:lpstr>
      <vt:lpstr>Slide Master Only: November 2024</vt:lpstr>
      <vt:lpstr>think-cell Slide</vt:lpstr>
      <vt:lpstr>QSeaBattle A two-player game where success is limited by information flow </vt:lpstr>
      <vt:lpstr>PowerPoint Presentation</vt:lpstr>
      <vt:lpstr>Classical players</vt:lpstr>
      <vt:lpstr>PowerPoint Presentation</vt:lpstr>
      <vt:lpstr>Boundaries</vt:lpstr>
      <vt:lpstr>PowerPoint Presentation</vt:lpstr>
      <vt:lpstr>PowerPoint Presentation</vt:lpstr>
      <vt:lpstr>Two starting point leading to same boundary on non-locality What is the connection?</vt:lpstr>
      <vt:lpstr>PowerPoint Presentation</vt:lpstr>
      <vt:lpstr>PowerPoint Presentation</vt:lpstr>
      <vt:lpstr>EPR 1935 / Alain Aspect 1982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hilips Corporate PowerPoint Template</dc:title>
  <dc:subject/>
  <dc:creator>Hendriks, Rob</dc:creator>
  <cp:keywords/>
  <dc:description/>
  <cp:lastModifiedBy>Hendriks, Rob</cp:lastModifiedBy>
  <cp:revision>1</cp:revision>
  <dcterms:created xsi:type="dcterms:W3CDTF">2025-09-06T05:07:06Z</dcterms:created>
  <dcterms:modified xsi:type="dcterms:W3CDTF">2026-01-19T07:52:18Z</dcterms:modified>
  <cp:category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emplafyTimeStamp">
    <vt:lpwstr>2025-09-05T06:54:52</vt:lpwstr>
  </property>
  <property fmtid="{D5CDD505-2E9C-101B-9397-08002B2CF9AE}" pid="3" name="TemplafyTenantId">
    <vt:lpwstr>philips</vt:lpwstr>
  </property>
  <property fmtid="{D5CDD505-2E9C-101B-9397-08002B2CF9AE}" pid="4" name="TemplafyTemplateId">
    <vt:lpwstr>1267840776996651068</vt:lpwstr>
  </property>
  <property fmtid="{D5CDD505-2E9C-101B-9397-08002B2CF9AE}" pid="5" name="TemplafyUserProfileId">
    <vt:lpwstr>637652993277589542</vt:lpwstr>
  </property>
  <property fmtid="{D5CDD505-2E9C-101B-9397-08002B2CF9AE}" pid="6" name="TemplafyFromBlank">
    <vt:bool>true</vt:bool>
  </property>
</Properties>
</file>